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heme/theme9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ags/tag64.xml" ContentType="application/vnd.openxmlformats-officedocument.presentationml.tags+xml"/>
  <Override PartName="/ppt/notesSlides/notesSlide6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7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8.xml" ContentType="application/vnd.openxmlformats-officedocument.presentationml.notesSlide+xml"/>
  <Override PartName="/ppt/tags/tag6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70.xml" ContentType="application/vnd.openxmlformats-officedocument.presentationml.tags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99" r:id="rId4"/>
    <p:sldMasterId id="2147483742" r:id="rId5"/>
    <p:sldMasterId id="2147483770" r:id="rId6"/>
    <p:sldMasterId id="2147483809" r:id="rId7"/>
    <p:sldMasterId id="2147483845" r:id="rId8"/>
    <p:sldMasterId id="2147483862" r:id="rId9"/>
    <p:sldMasterId id="2147483870" r:id="rId10"/>
    <p:sldMasterId id="2147483891" r:id="rId11"/>
  </p:sldMasterIdLst>
  <p:notesMasterIdLst>
    <p:notesMasterId r:id="rId32"/>
  </p:notesMasterIdLst>
  <p:sldIdLst>
    <p:sldId id="2147473119" r:id="rId12"/>
    <p:sldId id="2147378554" r:id="rId13"/>
    <p:sldId id="2147473113" r:id="rId14"/>
    <p:sldId id="2147473114" r:id="rId15"/>
    <p:sldId id="2147377950" r:id="rId16"/>
    <p:sldId id="2147378804" r:id="rId17"/>
    <p:sldId id="2147473120" r:id="rId18"/>
    <p:sldId id="2147378399" r:id="rId19"/>
    <p:sldId id="2147378801" r:id="rId20"/>
    <p:sldId id="2147378942" r:id="rId21"/>
    <p:sldId id="2147473121" r:id="rId22"/>
    <p:sldId id="2147378946" r:id="rId23"/>
    <p:sldId id="2147473123" r:id="rId24"/>
    <p:sldId id="256" r:id="rId25"/>
    <p:sldId id="2147378726" r:id="rId26"/>
    <p:sldId id="2147378945" r:id="rId27"/>
    <p:sldId id="2147473124" r:id="rId28"/>
    <p:sldId id="2147378732" r:id="rId29"/>
    <p:sldId id="2147473122" r:id="rId30"/>
    <p:sldId id="2147378405" r:id="rId31"/>
  </p:sldIdLst>
  <p:sldSz cx="12192000" cy="6858000"/>
  <p:notesSz cx="6797675" cy="9928225"/>
  <p:embeddedFontLst>
    <p:embeddedFont>
      <p:font typeface="ＭＳ Ｐゴシック" panose="020B0600070205080204" pitchFamily="34" charset="-128"/>
      <p:regular r:id="rId33"/>
    </p:embeddedFont>
    <p:embeddedFont>
      <p:font typeface="GT Walsheim Pro" pitchFamily="2" charset="0"/>
      <p:regular r:id="rId34"/>
      <p:italic r:id="rId35"/>
    </p:embeddedFont>
    <p:embeddedFont>
      <p:font typeface="GT Walsheim Pro Bold" pitchFamily="2" charset="0"/>
      <p:bold r:id="rId36"/>
      <p:italic r:id="rId37"/>
      <p:boldItalic r:id="rId38"/>
    </p:embeddedFont>
    <p:embeddedFont>
      <p:font typeface="GT Walsheim Pro Light" pitchFamily="2" charset="0"/>
      <p:regular r:id="rId39"/>
      <p:italic r:id="rId40"/>
    </p:embeddedFont>
    <p:embeddedFont>
      <p:font typeface="GT Walsheim Pro Regular" pitchFamily="2" charset="0"/>
      <p:regular r:id="rId41"/>
    </p:embeddedFont>
    <p:embeddedFont>
      <p:font typeface="Knockout HTF48-Featherweight" pitchFamily="2" charset="0"/>
      <p:regular r:id="rId42"/>
    </p:embeddedFont>
  </p:embeddedFontLst>
  <p:custDataLst>
    <p:tags r:id="rId43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uel EU" id="{80D3BCF6-C7CB-40DA-B475-95F47399327B}">
          <p14:sldIdLst>
            <p14:sldId id="2147473119"/>
            <p14:sldId id="2147378554"/>
            <p14:sldId id="2147473113"/>
            <p14:sldId id="2147473114"/>
            <p14:sldId id="2147377950"/>
            <p14:sldId id="2147378804"/>
            <p14:sldId id="2147473120"/>
            <p14:sldId id="2147378399"/>
            <p14:sldId id="2147378801"/>
            <p14:sldId id="2147378942"/>
            <p14:sldId id="2147473121"/>
            <p14:sldId id="2147378946"/>
            <p14:sldId id="2147473123"/>
            <p14:sldId id="256"/>
            <p14:sldId id="2147378726"/>
            <p14:sldId id="2147378945"/>
            <p14:sldId id="2147473124"/>
            <p14:sldId id="2147378732"/>
            <p14:sldId id="2147473122"/>
            <p14:sldId id="214737840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3594358-D823-E1F8-757C-226CBE1D24F3}" name="Valerie Ahrens" initials="VA" userId="S::vaah@bunker-holding.com::5ecccf00-c83f-4f85-97b1-33291ed7eee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66BACC-AA2F-4BA6-B412-57553D4F227D}" v="80" dt="2024-06-11T13:27:54.52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48"/>
  </p:normalViewPr>
  <p:slideViewPr>
    <p:cSldViewPr snapToGrid="0">
      <p:cViewPr varScale="1">
        <p:scale>
          <a:sx n="117" d="100"/>
          <a:sy n="117" d="100"/>
        </p:scale>
        <p:origin x="360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font" Target="fonts/font7.fntdata"/><Relationship Id="rId21" Type="http://schemas.openxmlformats.org/officeDocument/2006/relationships/slide" Target="slides/slide10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font" Target="fonts/font4.fntdata"/><Relationship Id="rId49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font" Target="fonts/font3.fntdata"/><Relationship Id="rId43" Type="http://schemas.openxmlformats.org/officeDocument/2006/relationships/tags" Target="tags/tag1.xml"/><Relationship Id="rId48" Type="http://schemas.microsoft.com/office/2015/10/relationships/revisionInfo" Target="revisionInfo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theme" Target="theme/theme1.xml"/><Relationship Id="rId20" Type="http://schemas.openxmlformats.org/officeDocument/2006/relationships/slide" Target="slides/slide9.xml"/><Relationship Id="rId41" Type="http://schemas.openxmlformats.org/officeDocument/2006/relationships/font" Target="fonts/font9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kili__al__ma_Sayfas_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109210921092102E-2"/>
          <c:y val="5.0051072522982638E-2"/>
          <c:w val="0.89228922892289231"/>
          <c:h val="0.89989785495403474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6E80A9"/>
              </a:solidFill>
              <a:prstDash val="solid"/>
            </a:ln>
          </c:spPr>
          <c:marker>
            <c:symbol val="none"/>
          </c:marker>
          <c:val>
            <c:numRef>
              <c:f>Sheet1!$A$1:$K$1</c:f>
              <c:numCache>
                <c:formatCode>General</c:formatCode>
                <c:ptCount val="11"/>
                <c:pt idx="0">
                  <c:v>8</c:v>
                </c:pt>
                <c:pt idx="1">
                  <c:v>8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8</c:v>
                </c:pt>
                <c:pt idx="6">
                  <c:v>8</c:v>
                </c:pt>
                <c:pt idx="7">
                  <c:v>8</c:v>
                </c:pt>
                <c:pt idx="8">
                  <c:v>8</c:v>
                </c:pt>
                <c:pt idx="9">
                  <c:v>8</c:v>
                </c:pt>
                <c:pt idx="10">
                  <c:v>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CAD-402A-841A-73272AC2FD99}"/>
            </c:ext>
          </c:extLst>
        </c:ser>
        <c:ser>
          <c:idx val="1"/>
          <c:order val="1"/>
          <c:spPr>
            <a:ln w="28575" cmpd="sng" algn="ctr">
              <a:solidFill>
                <a:srgbClr val="000000"/>
              </a:solidFill>
              <a:prstDash val="solid"/>
            </a:ln>
          </c:spPr>
          <c:marker>
            <c:symbol val="none"/>
          </c:marker>
          <c:val>
            <c:numRef>
              <c:f>Sheet1!$A$2:$K$2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CAD-402A-841A-73272AC2FD99}"/>
            </c:ext>
          </c:extLst>
        </c:ser>
        <c:ser>
          <c:idx val="2"/>
          <c:order val="2"/>
          <c:spPr>
            <a:ln w="28575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3:$K$3</c:f>
              <c:numCache>
                <c:formatCode>General</c:formatCode>
                <c:ptCount val="11"/>
                <c:pt idx="0">
                  <c:v>-17</c:v>
                </c:pt>
                <c:pt idx="1">
                  <c:v>-17</c:v>
                </c:pt>
                <c:pt idx="2">
                  <c:v>-17</c:v>
                </c:pt>
                <c:pt idx="3">
                  <c:v>-17</c:v>
                </c:pt>
                <c:pt idx="4">
                  <c:v>-17</c:v>
                </c:pt>
                <c:pt idx="5">
                  <c:v>-17</c:v>
                </c:pt>
                <c:pt idx="6">
                  <c:v>-17</c:v>
                </c:pt>
                <c:pt idx="7">
                  <c:v>-17</c:v>
                </c:pt>
                <c:pt idx="8">
                  <c:v>-17</c:v>
                </c:pt>
                <c:pt idx="9">
                  <c:v>-17</c:v>
                </c:pt>
                <c:pt idx="10">
                  <c:v>-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CAD-402A-841A-73272AC2FD99}"/>
            </c:ext>
          </c:extLst>
        </c:ser>
        <c:ser>
          <c:idx val="3"/>
          <c:order val="3"/>
          <c:spPr>
            <a:ln w="19050" cmpd="sng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val>
            <c:numRef>
              <c:f>Sheet1!$A$4:$K$4</c:f>
              <c:numCache>
                <c:formatCode>General</c:formatCode>
                <c:ptCount val="11"/>
                <c:pt idx="0">
                  <c:v>-25</c:v>
                </c:pt>
                <c:pt idx="1">
                  <c:v>-25</c:v>
                </c:pt>
                <c:pt idx="2">
                  <c:v>-25</c:v>
                </c:pt>
                <c:pt idx="3">
                  <c:v>-25</c:v>
                </c:pt>
                <c:pt idx="4">
                  <c:v>-25</c:v>
                </c:pt>
                <c:pt idx="5">
                  <c:v>-25</c:v>
                </c:pt>
                <c:pt idx="6">
                  <c:v>-25</c:v>
                </c:pt>
                <c:pt idx="7">
                  <c:v>-25</c:v>
                </c:pt>
                <c:pt idx="8">
                  <c:v>-25</c:v>
                </c:pt>
                <c:pt idx="9">
                  <c:v>-25</c:v>
                </c:pt>
                <c:pt idx="10">
                  <c:v>-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CAD-402A-841A-73272AC2FD99}"/>
            </c:ext>
          </c:extLst>
        </c:ser>
        <c:ser>
          <c:idx val="4"/>
          <c:order val="4"/>
          <c:spPr>
            <a:ln w="28575" cmpd="sng" algn="ctr">
              <a:solidFill>
                <a:srgbClr val="71B790"/>
              </a:solidFill>
              <a:prstDash val="solid"/>
            </a:ln>
          </c:spPr>
          <c:marker>
            <c:symbol val="none"/>
          </c:marker>
          <c:val>
            <c:numRef>
              <c:f>Sheet1!$A$5:$K$5</c:f>
              <c:numCache>
                <c:formatCode>General</c:formatCode>
                <c:ptCount val="11"/>
                <c:pt idx="0">
                  <c:v>-81</c:v>
                </c:pt>
                <c:pt idx="1">
                  <c:v>-81</c:v>
                </c:pt>
                <c:pt idx="2">
                  <c:v>-81</c:v>
                </c:pt>
                <c:pt idx="3">
                  <c:v>-81</c:v>
                </c:pt>
                <c:pt idx="4">
                  <c:v>-81</c:v>
                </c:pt>
                <c:pt idx="5">
                  <c:v>-81</c:v>
                </c:pt>
                <c:pt idx="6">
                  <c:v>-81</c:v>
                </c:pt>
                <c:pt idx="7">
                  <c:v>-81</c:v>
                </c:pt>
                <c:pt idx="8">
                  <c:v>-81</c:v>
                </c:pt>
                <c:pt idx="9">
                  <c:v>-81</c:v>
                </c:pt>
                <c:pt idx="10">
                  <c:v>-8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CAD-402A-841A-73272AC2FD99}"/>
            </c:ext>
          </c:extLst>
        </c:ser>
        <c:ser>
          <c:idx val="5"/>
          <c:order val="5"/>
          <c:spPr>
            <a:ln w="28575" cmpd="sng" algn="ctr">
              <a:solidFill>
                <a:srgbClr val="7A9A01"/>
              </a:solidFill>
              <a:prstDash val="solid"/>
            </a:ln>
          </c:spPr>
          <c:marker>
            <c:symbol val="none"/>
          </c:marker>
          <c:val>
            <c:numRef>
              <c:f>Sheet1!$A$6:$K$6</c:f>
              <c:numCache>
                <c:formatCode>General</c:formatCode>
                <c:ptCount val="11"/>
                <c:pt idx="0">
                  <c:v>-77</c:v>
                </c:pt>
                <c:pt idx="1">
                  <c:v>-77</c:v>
                </c:pt>
                <c:pt idx="2">
                  <c:v>-77</c:v>
                </c:pt>
                <c:pt idx="3">
                  <c:v>-77</c:v>
                </c:pt>
                <c:pt idx="4">
                  <c:v>-77</c:v>
                </c:pt>
                <c:pt idx="5">
                  <c:v>-77</c:v>
                </c:pt>
                <c:pt idx="6">
                  <c:v>-77</c:v>
                </c:pt>
                <c:pt idx="7">
                  <c:v>-77</c:v>
                </c:pt>
                <c:pt idx="8">
                  <c:v>-77</c:v>
                </c:pt>
                <c:pt idx="9">
                  <c:v>-77</c:v>
                </c:pt>
                <c:pt idx="10">
                  <c:v>-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CAD-402A-841A-73272AC2FD99}"/>
            </c:ext>
          </c:extLst>
        </c:ser>
        <c:ser>
          <c:idx val="6"/>
          <c:order val="6"/>
          <c:spPr>
            <a:ln w="28575" cmpd="sng" algn="ctr">
              <a:solidFill>
                <a:srgbClr val="5C7401"/>
              </a:solidFill>
              <a:prstDash val="solid"/>
            </a:ln>
          </c:spPr>
          <c:marker>
            <c:symbol val="none"/>
          </c:marker>
          <c:val>
            <c:numRef>
              <c:f>Sheet1!$A$7:$K$7</c:f>
              <c:numCache>
                <c:formatCode>General</c:formatCode>
                <c:ptCount val="11"/>
                <c:pt idx="0">
                  <c:v>-92</c:v>
                </c:pt>
                <c:pt idx="1">
                  <c:v>-92</c:v>
                </c:pt>
                <c:pt idx="2">
                  <c:v>-92</c:v>
                </c:pt>
                <c:pt idx="3">
                  <c:v>-92</c:v>
                </c:pt>
                <c:pt idx="4">
                  <c:v>-92</c:v>
                </c:pt>
                <c:pt idx="5">
                  <c:v>-92</c:v>
                </c:pt>
                <c:pt idx="6">
                  <c:v>-92</c:v>
                </c:pt>
                <c:pt idx="7">
                  <c:v>-92</c:v>
                </c:pt>
                <c:pt idx="8">
                  <c:v>-92</c:v>
                </c:pt>
                <c:pt idx="9">
                  <c:v>-92</c:v>
                </c:pt>
                <c:pt idx="10">
                  <c:v>-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7CAD-402A-841A-73272AC2FD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53394080"/>
        <c:axId val="1"/>
      </c:lineChart>
      <c:catAx>
        <c:axId val="1553394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0"/>
          <c:min val="-10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GT Walsheim Pro"/>
              </a:defRPr>
            </a:pPr>
            <a:endParaRPr lang="tr-CA"/>
          </a:p>
        </c:txPr>
        <c:crossAx val="1553394080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161225006327512E-2"/>
          <c:y val="3.5338090383961941E-2"/>
          <c:w val="0.97367754998734501"/>
          <c:h val="0.9293238192320760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6D140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74A-4A62-8A9E-5DEDE653486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74A-4A62-8A9E-5DEDE6534864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74A-4A62-8A9E-5DEDE6534864}"/>
                </c:ext>
              </c:extLst>
            </c:dLbl>
            <c:dLbl>
              <c:idx val="3"/>
              <c:layout>
                <c:manualLayout>
                  <c:x val="-2.531004808909137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74A-4A62-8A9E-5DEDE653486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74A-4A62-8A9E-5DEDE6534864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74A-4A62-8A9E-5DEDE6534864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74A-4A62-8A9E-5DEDE6534864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74A-4A62-8A9E-5DEDE6534864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74A-4A62-8A9E-5DEDE6534864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74A-4A62-8A9E-5DEDE6534864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74A-4A62-8A9E-5DEDE6534864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974A-4A62-8A9E-5DEDE6534864}"/>
                </c:ext>
              </c:extLst>
            </c:dLbl>
            <c:dLbl>
              <c:idx val="12"/>
              <c:layout>
                <c:manualLayout>
                  <c:x val="-2.531004808909137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974A-4A62-8A9E-5DEDE6534864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974A-4A62-8A9E-5DEDE65348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N$1</c:f>
              <c:numCache>
                <c:formatCode>General</c:formatCode>
                <c:ptCount val="14"/>
                <c:pt idx="0">
                  <c:v>0</c:v>
                </c:pt>
                <c:pt idx="1">
                  <c:v>51</c:v>
                </c:pt>
                <c:pt idx="2">
                  <c:v>0</c:v>
                </c:pt>
                <c:pt idx="3">
                  <c:v>99</c:v>
                </c:pt>
                <c:pt idx="4">
                  <c:v>225</c:v>
                </c:pt>
                <c:pt idx="5">
                  <c:v>82</c:v>
                </c:pt>
                <c:pt idx="6">
                  <c:v>60</c:v>
                </c:pt>
                <c:pt idx="7">
                  <c:v>133</c:v>
                </c:pt>
                <c:pt idx="8">
                  <c:v>69</c:v>
                </c:pt>
                <c:pt idx="9">
                  <c:v>104</c:v>
                </c:pt>
                <c:pt idx="10">
                  <c:v>95</c:v>
                </c:pt>
                <c:pt idx="11">
                  <c:v>225</c:v>
                </c:pt>
                <c:pt idx="12">
                  <c:v>829</c:v>
                </c:pt>
                <c:pt idx="13">
                  <c:v>8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74A-4A62-8A9E-5DEDE6534864}"/>
            </c:ext>
          </c:extLst>
        </c:ser>
        <c:ser>
          <c:idx val="1"/>
          <c:order val="1"/>
          <c:spPr>
            <a:solidFill>
              <a:srgbClr val="A31E14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974A-4A62-8A9E-5DEDE6534864}"/>
              </c:ext>
            </c:extLst>
          </c:dPt>
          <c:dPt>
            <c:idx val="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0-974A-4A62-8A9E-5DEDE6534864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974A-4A62-8A9E-5DEDE6534864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974A-4A62-8A9E-5DEDE6534864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974A-4A62-8A9E-5DEDE6534864}"/>
              </c:ext>
            </c:extLst>
          </c:dPt>
          <c:dPt>
            <c:idx val="1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4-974A-4A62-8A9E-5DEDE6534864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5-974A-4A62-8A9E-5DEDE6534864}"/>
              </c:ext>
            </c:extLst>
          </c:dPt>
          <c:dLbls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974A-4A62-8A9E-5DEDE6534864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974A-4A62-8A9E-5DEDE6534864}"/>
                </c:ext>
              </c:extLst>
            </c:dLbl>
            <c:dLbl>
              <c:idx val="7"/>
              <c:layout>
                <c:manualLayout>
                  <c:x val="-2.531004808909137E-4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974A-4A62-8A9E-5DEDE6534864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974A-4A62-8A9E-5DEDE6534864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974A-4A62-8A9E-5DEDE6534864}"/>
                </c:ext>
              </c:extLst>
            </c:dLbl>
            <c:dLbl>
              <c:idx val="1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974A-4A62-8A9E-5DEDE6534864}"/>
                </c:ext>
              </c:extLst>
            </c:dLbl>
            <c:dLbl>
              <c:idx val="1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974A-4A62-8A9E-5DEDE65348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N$2</c:f>
              <c:numCache>
                <c:formatCode>General</c:formatCode>
                <c:ptCount val="1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391</c:v>
                </c:pt>
                <c:pt idx="6">
                  <c:v>475</c:v>
                </c:pt>
                <c:pt idx="7">
                  <c:v>404</c:v>
                </c:pt>
                <c:pt idx="8">
                  <c:v>558</c:v>
                </c:pt>
                <c:pt idx="9">
                  <c:v>541</c:v>
                </c:pt>
                <c:pt idx="10">
                  <c:v>558</c:v>
                </c:pt>
                <c:pt idx="11">
                  <c:v>499</c:v>
                </c:pt>
                <c:pt idx="12">
                  <c:v>0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974A-4A62-8A9E-5DEDE6534864}"/>
            </c:ext>
          </c:extLst>
        </c:ser>
        <c:ser>
          <c:idx val="2"/>
          <c:order val="2"/>
          <c:spPr>
            <a:solidFill>
              <a:srgbClr val="F5B2AE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974A-4A62-8A9E-5DEDE6534864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tr-CA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974A-4A62-8A9E-5DEDE653486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N$3</c:f>
              <c:numCache>
                <c:formatCode>General</c:formatCode>
                <c:ptCount val="14"/>
                <c:pt idx="0">
                  <c:v>7</c:v>
                </c:pt>
                <c:pt idx="1">
                  <c:v>0</c:v>
                </c:pt>
                <c:pt idx="2">
                  <c:v>75</c:v>
                </c:pt>
                <c:pt idx="3">
                  <c:v>12</c:v>
                </c:pt>
                <c:pt idx="4">
                  <c:v>7</c:v>
                </c:pt>
                <c:pt idx="5">
                  <c:v>7</c:v>
                </c:pt>
                <c:pt idx="6">
                  <c:v>6</c:v>
                </c:pt>
                <c:pt idx="7">
                  <c:v>12</c:v>
                </c:pt>
                <c:pt idx="8">
                  <c:v>10</c:v>
                </c:pt>
                <c:pt idx="9">
                  <c:v>9</c:v>
                </c:pt>
                <c:pt idx="10">
                  <c:v>10</c:v>
                </c:pt>
                <c:pt idx="11">
                  <c:v>7</c:v>
                </c:pt>
                <c:pt idx="12">
                  <c:v>9</c:v>
                </c:pt>
                <c:pt idx="13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974A-4A62-8A9E-5DEDE65348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65208864"/>
        <c:axId val="1"/>
      </c:barChart>
      <c:catAx>
        <c:axId val="46520886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5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465208864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1">
                <a:latin typeface="GT Walsheim Pro Regular" pitchFamily="2" charset="77"/>
              </a:defRPr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1">
                <a:latin typeface="GT Walsheim Pro Regular" pitchFamily="2" charset="77"/>
              </a:defRPr>
            </a:lvl1pPr>
          </a:lstStyle>
          <a:p>
            <a:fld id="{2A137F24-5CA7-DD4A-A230-1A2FD7D339C1}" type="datetimeFigureOut">
              <a:rPr lang="da-DK" smtClean="0"/>
              <a:pPr/>
              <a:t>19.06.2024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1">
                <a:latin typeface="GT Walsheim Pro Regular" pitchFamily="2" charset="77"/>
              </a:defRPr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1">
                <a:latin typeface="GT Walsheim Pro Regular" pitchFamily="2" charset="77"/>
              </a:defRPr>
            </a:lvl1pPr>
          </a:lstStyle>
          <a:p>
            <a:fld id="{EEB22A05-5C8A-C84A-86B1-188700A18889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23257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1" kern="1200">
        <a:solidFill>
          <a:schemeClr val="tx1"/>
        </a:solidFill>
        <a:latin typeface="GT Walsheim Pro Regular" pitchFamily="2" charset="77"/>
        <a:ea typeface="+mn-ea"/>
        <a:cs typeface="+mn-cs"/>
      </a:defRPr>
    </a:lvl1pPr>
    <a:lvl2pPr marL="457200" algn="l" defTabSz="914400" rtl="0" eaLnBrk="1" latinLnBrk="0" hangingPunct="1">
      <a:defRPr sz="1200" b="0" i="1" kern="1200">
        <a:solidFill>
          <a:schemeClr val="tx1"/>
        </a:solidFill>
        <a:latin typeface="GT Walsheim Pro Regular" pitchFamily="2" charset="77"/>
        <a:ea typeface="+mn-ea"/>
        <a:cs typeface="+mn-cs"/>
      </a:defRPr>
    </a:lvl2pPr>
    <a:lvl3pPr marL="914400" algn="l" defTabSz="914400" rtl="0" eaLnBrk="1" latinLnBrk="0" hangingPunct="1">
      <a:defRPr sz="1200" b="0" i="1" kern="1200">
        <a:solidFill>
          <a:schemeClr val="tx1"/>
        </a:solidFill>
        <a:latin typeface="GT Walsheim Pro Regular" pitchFamily="2" charset="77"/>
        <a:ea typeface="+mn-ea"/>
        <a:cs typeface="+mn-cs"/>
      </a:defRPr>
    </a:lvl3pPr>
    <a:lvl4pPr marL="1371600" algn="l" defTabSz="914400" rtl="0" eaLnBrk="1" latinLnBrk="0" hangingPunct="1">
      <a:defRPr sz="1200" b="0" i="1" kern="1200">
        <a:solidFill>
          <a:schemeClr val="tx1"/>
        </a:solidFill>
        <a:latin typeface="GT Walsheim Pro Regular" pitchFamily="2" charset="77"/>
        <a:ea typeface="+mn-ea"/>
        <a:cs typeface="+mn-cs"/>
      </a:defRPr>
    </a:lvl4pPr>
    <a:lvl5pPr marL="1828800" algn="l" defTabSz="914400" rtl="0" eaLnBrk="1" latinLnBrk="0" hangingPunct="1">
      <a:defRPr sz="1200" b="0" i="1" kern="1200">
        <a:solidFill>
          <a:schemeClr val="tx1"/>
        </a:solidFill>
        <a:latin typeface="GT Walsheim Pro Regular" pitchFamily="2" charset="77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46413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22A05-5C8A-C84A-86B1-188700A18889}" type="slidenum">
              <a:rPr lang="da-DK" smtClean="0"/>
              <a:pPr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763834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So what is the role of Carbon Markets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2614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2675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rgbClr val="505154"/>
                </a:solidFill>
                <a:latin typeface="inherit"/>
                <a:ea typeface="Times New Roman" panose="02020603050405020304" pitchFamily="18" charset="0"/>
                <a:cs typeface="Helvetica" panose="020B0604020202020204" pitchFamily="34" charset="0"/>
              </a:rPr>
              <a:t>FuelEU</a:t>
            </a:r>
            <a:r>
              <a:rPr lang="en-US" sz="1200" dirty="0">
                <a:solidFill>
                  <a:srgbClr val="505154"/>
                </a:solidFill>
                <a:latin typeface="inherit"/>
                <a:ea typeface="Times New Roman" panose="02020603050405020304" pitchFamily="18" charset="0"/>
                <a:cs typeface="Helvetica" panose="020B0604020202020204" pitchFamily="34" charset="0"/>
              </a:rPr>
              <a:t> Maritime requires that</a:t>
            </a:r>
            <a:r>
              <a:rPr lang="en-US" sz="1200" dirty="0">
                <a:solidFill>
                  <a:srgbClr val="505154"/>
                </a:solidFill>
                <a:effectLst/>
                <a:latin typeface="inherit"/>
                <a:ea typeface="Times New Roman" panose="02020603050405020304" pitchFamily="18" charset="0"/>
                <a:cs typeface="Helvetica" panose="020B0604020202020204" pitchFamily="34" charset="0"/>
              </a:rPr>
              <a:t> ships</a:t>
            </a:r>
            <a:r>
              <a:rPr lang="en-US" sz="1200" dirty="0">
                <a:solidFill>
                  <a:srgbClr val="505154"/>
                </a:solidFill>
                <a:latin typeface="inherit"/>
                <a:ea typeface="Times New Roman" panose="02020603050405020304" pitchFamily="18" charset="0"/>
                <a:cs typeface="Helvetica" panose="020B0604020202020204" pitchFamily="34" charset="0"/>
              </a:rPr>
              <a:t> </a:t>
            </a:r>
            <a:r>
              <a:rPr lang="en-US" sz="1200" dirty="0">
                <a:solidFill>
                  <a:srgbClr val="505154"/>
                </a:solidFill>
                <a:effectLst/>
                <a:latin typeface="inherit"/>
                <a:ea typeface="Times New Roman" panose="02020603050405020304" pitchFamily="18" charset="0"/>
                <a:cs typeface="Helvetica" panose="020B0604020202020204" pitchFamily="34" charset="0"/>
              </a:rPr>
              <a:t>gradually reduce greenhouse gas (GHG) emissions by cutting the amount of GHG in the energy they use (below 2020 level of 91.16 grams of CO2 per MJ) by 2% as of 2025, 6% as of 2030, 14,5% as of 2035, 31% as of 2040, 62% as of 2045 and 80% </a:t>
            </a:r>
            <a:r>
              <a:rPr lang="en-US" sz="1200" dirty="0">
                <a:solidFill>
                  <a:srgbClr val="505154"/>
                </a:solidFill>
                <a:latin typeface="inherit"/>
                <a:ea typeface="Times New Roman" panose="02020603050405020304" pitchFamily="18" charset="0"/>
                <a:cs typeface="Helvetica" panose="020B0604020202020204" pitchFamily="34" charset="0"/>
              </a:rPr>
              <a:t>as of</a:t>
            </a:r>
            <a:r>
              <a:rPr lang="en-US" sz="1200" dirty="0">
                <a:solidFill>
                  <a:srgbClr val="505154"/>
                </a:solidFill>
                <a:effectLst/>
                <a:latin typeface="inherit"/>
                <a:ea typeface="Times New Roman" panose="02020603050405020304" pitchFamily="18" charset="0"/>
                <a:cs typeface="Helvetica" panose="020B0604020202020204" pitchFamily="34" charset="0"/>
              </a:rPr>
              <a:t> 2050. This would apply to ships above a gross tonnage of 5000, which are in principle responsible for 90% of CO2 emissions, and to all energy used on board in or between EU ports, as well as to 50% of energy used on voyages where the departure or arrival port is outside of the EU or in EU outermost regions.</a:t>
            </a:r>
            <a:endParaRPr lang="en-US" sz="1200" dirty="0">
              <a:effectLst/>
              <a:latin typeface="Times New Roman"/>
              <a:ea typeface="Calibri" panose="020F0502020204030204" pitchFamily="34" charset="0"/>
              <a:cs typeface="Calibri"/>
            </a:endParaRP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22A05-5C8A-C84A-86B1-188700A18889}" type="slidenum">
              <a:rPr lang="da-DK" smtClean="0"/>
              <a:pPr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95211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/>
              <a:t>How to present: </a:t>
            </a:r>
          </a:p>
          <a:p>
            <a:r>
              <a:rPr lang="da-DK" dirty="0"/>
              <a:t>To be prepar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41512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/>
              <a:t>How to present: </a:t>
            </a:r>
          </a:p>
          <a:p>
            <a:r>
              <a:rPr lang="da-DK"/>
              <a:t>To be prepar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63387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21774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39294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/>
              <a:t>IMO MEPC 80 meeting in July 2023 – redefining </a:t>
            </a:r>
            <a:r>
              <a:rPr lang="da-DK" dirty="0">
                <a:highlight>
                  <a:srgbClr val="FFFF00"/>
                </a:highlight>
              </a:rPr>
              <a:t>the IMO’s ambitions to 2050 with an ”increased level of ambition”.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>
                <a:highlight>
                  <a:srgbClr val="FFFF00"/>
                </a:highlight>
              </a:rPr>
              <a:t>Total GHG emissions from shipping to reach net-zero by and around 2050. Taking into account different national circumstances. </a:t>
            </a:r>
            <a:endParaRPr lang="da-DK" dirty="0">
              <a:highlight>
                <a:srgbClr val="FFFF00"/>
              </a:highlight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>
                <a:highlight>
                  <a:srgbClr val="FFFF00"/>
                </a:highlight>
              </a:rPr>
              <a:t>Indicative check-points of total shipping GHG emssions being reduced by at least 20%, striving for 30%, from 2008’s levels by 2030, and by at least 70%, striving for 80%, by 2040. </a:t>
            </a:r>
            <a:endParaRPr lang="da-DK" dirty="0">
              <a:highlight>
                <a:srgbClr val="FFFF00"/>
              </a:highlight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>
                <a:highlight>
                  <a:srgbClr val="FFFF00"/>
                </a:highlight>
              </a:rPr>
              <a:t>The strategy sets an ambition for uptake of zero- or near-zero-GHG emission technologies, fuels or energy sources to reach at least 5%, striving for 10%, of total energy demand from international shipping by 2030. </a:t>
            </a:r>
            <a:endParaRPr lang="da-DK" dirty="0">
              <a:highlight>
                <a:srgbClr val="FFFF00"/>
              </a:highlight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>
                <a:highlight>
                  <a:srgbClr val="FFFF00"/>
                </a:highlight>
              </a:rPr>
              <a:t>The IMO’s initial GHG strategy, set in 2018, envisaged a cut of at least 40% in carbon emissions per transport work from 2008s levels by 2030. This target on carbon intensity remains unchanged in the revised strategy.</a:t>
            </a:r>
            <a:endParaRPr lang="da-DK" dirty="0">
              <a:highlight>
                <a:srgbClr val="FFFF00"/>
              </a:highlight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dirty="0">
                <a:highlight>
                  <a:srgbClr val="FFFF00"/>
                </a:highlight>
              </a:rPr>
              <a:t>IMO has set a deadline of 2025 to agree a basket of mid-term measures to support the GHG strategy. This should include both a goal-based marine fuel standard regulating a phased reduction in the GHG intensity of marine fuels, and a GHG emissions pricing mechanism for shipping. These measures will take into account the full well-to-awke GHG emissions of marine fuels. The earliest point at which these measures could then come into force would be in 2027. </a:t>
            </a:r>
            <a:endParaRPr lang="da-DK" dirty="0">
              <a:highlight>
                <a:srgbClr val="FFFF00"/>
              </a:highlight>
              <a:cs typeface="Arial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60517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7911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4E764CBE-A6B9-A945-6A3E-F9D71A80F56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>
            <a:lvl1pPr>
              <a:defRPr b="0" i="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LIGHT </a:t>
            </a:r>
            <a:r>
              <a:rPr lang="da-DK" err="1"/>
              <a:t>background</a:t>
            </a:r>
            <a:r>
              <a:rPr lang="da-DK"/>
              <a:t> </a:t>
            </a:r>
            <a:r>
              <a:rPr lang="da-DK" err="1"/>
              <a:t>picture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316468"/>
            <a:ext cx="11197703" cy="1230337"/>
          </a:xfrm>
        </p:spPr>
        <p:txBody>
          <a:bodyPr anchor="b"/>
          <a:lstStyle>
            <a:lvl1pPr algn="l">
              <a:lnSpc>
                <a:spcPts val="9000"/>
              </a:lnSpc>
              <a:defRPr sz="120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79F4468-C1FF-64B0-EF4F-D5E6B4F738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510547"/>
            <a:ext cx="7776292" cy="1071880"/>
          </a:xfrm>
        </p:spPr>
        <p:txBody>
          <a:bodyPr/>
          <a:lstStyle>
            <a:lvl1pPr marL="0" indent="0" algn="l">
              <a:buNone/>
              <a:defRPr sz="1800" b="0" i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title</a:t>
            </a:r>
            <a:r>
              <a:rPr lang="da-DK"/>
              <a:t> or date</a:t>
            </a:r>
          </a:p>
        </p:txBody>
      </p:sp>
      <p:sp>
        <p:nvSpPr>
          <p:cNvPr id="4" name="Logo Placeholder 9">
            <a:extLst>
              <a:ext uri="{FF2B5EF4-FFF2-40B4-BE49-F238E27FC236}">
                <a16:creationId xmlns:a16="http://schemas.microsoft.com/office/drawing/2014/main" id="{F158071A-D44A-20E1-CF4E-1E9FD6C17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1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49517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0"/>
            <a:ext cx="12192000" cy="1330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7231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E18CD8-620D-4E7F-998A-1C89FB95605F}" type="datetime1">
              <a:rPr lang="en-GB" smtClean="0"/>
              <a:t>19/06/2024</a:t>
            </a:fld>
            <a:endParaRPr lang="en-US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1834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1ACF68-CCD8-4DAD-B198-51A49E1A492D}"/>
              </a:ext>
            </a:extLst>
          </p:cNvPr>
          <p:cNvSpPr/>
          <p:nvPr userDrawn="1"/>
        </p:nvSpPr>
        <p:spPr>
          <a:xfrm>
            <a:off x="1115786" y="4122053"/>
            <a:ext cx="2062843" cy="206284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1788BB9-D989-48C1-B044-37AE707F2E4F}"/>
              </a:ext>
            </a:extLst>
          </p:cNvPr>
          <p:cNvSpPr/>
          <p:nvPr userDrawn="1"/>
        </p:nvSpPr>
        <p:spPr>
          <a:xfrm>
            <a:off x="3757386" y="4122053"/>
            <a:ext cx="2062843" cy="206284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BAA3225-1E23-4657-817D-7D0A4B74D1A9}"/>
              </a:ext>
            </a:extLst>
          </p:cNvPr>
          <p:cNvSpPr/>
          <p:nvPr userDrawn="1"/>
        </p:nvSpPr>
        <p:spPr>
          <a:xfrm>
            <a:off x="6398986" y="4122053"/>
            <a:ext cx="2062843" cy="206284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BBBA4F5-9F37-4707-8611-8379DC6CFA8C}"/>
              </a:ext>
            </a:extLst>
          </p:cNvPr>
          <p:cNvSpPr/>
          <p:nvPr userDrawn="1"/>
        </p:nvSpPr>
        <p:spPr>
          <a:xfrm>
            <a:off x="9040586" y="4122053"/>
            <a:ext cx="2062843" cy="206284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66EDB2B-D95B-4D8E-9593-228B9D144955}"/>
              </a:ext>
            </a:extLst>
          </p:cNvPr>
          <p:cNvCxnSpPr/>
          <p:nvPr userDrawn="1"/>
        </p:nvCxnSpPr>
        <p:spPr>
          <a:xfrm>
            <a:off x="0" y="6400800"/>
            <a:ext cx="11103429" cy="0"/>
          </a:xfrm>
          <a:prstGeom prst="line">
            <a:avLst/>
          </a:prstGeom>
          <a:ln w="1270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CF5260-95BE-41A3-870B-20512549DAC6}"/>
              </a:ext>
            </a:extLst>
          </p:cNvPr>
          <p:cNvCxnSpPr/>
          <p:nvPr userDrawn="1"/>
        </p:nvCxnSpPr>
        <p:spPr>
          <a:xfrm>
            <a:off x="530678" y="3429000"/>
            <a:ext cx="0" cy="3429000"/>
          </a:xfrm>
          <a:prstGeom prst="line">
            <a:avLst/>
          </a:prstGeom>
          <a:ln w="12700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13D5C401-2606-4CE8-8E91-8FAAE8132FF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4199" y="4814290"/>
            <a:ext cx="1707479" cy="974626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ante, </a:t>
            </a:r>
            <a:r>
              <a:rPr lang="en-US" err="1"/>
              <a:t>pretium</a:t>
            </a:r>
            <a:r>
              <a:rPr lang="en-US"/>
              <a:t> vitae </a:t>
            </a:r>
            <a:r>
              <a:rPr lang="en-US" err="1"/>
              <a:t>leo</a:t>
            </a:r>
            <a:r>
              <a:rPr lang="en-US"/>
              <a:t> non, dictum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ante, </a:t>
            </a:r>
            <a:r>
              <a:rPr lang="en-US" err="1"/>
              <a:t>pretium</a:t>
            </a:r>
            <a:r>
              <a:rPr lang="en-US"/>
              <a:t> vitae </a:t>
            </a:r>
            <a:r>
              <a:rPr lang="en-US" err="1"/>
              <a:t>leo</a:t>
            </a:r>
            <a:r>
              <a:rPr lang="en-US"/>
              <a:t> non, dictum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pellentesque</a:t>
            </a:r>
            <a:endParaRPr lang="en-US"/>
          </a:p>
        </p:txBody>
      </p:sp>
      <p:sp>
        <p:nvSpPr>
          <p:cNvPr id="31" name="Text Placeholder 23">
            <a:extLst>
              <a:ext uri="{FF2B5EF4-FFF2-40B4-BE49-F238E27FC236}">
                <a16:creationId xmlns:a16="http://schemas.microsoft.com/office/drawing/2014/main" id="{B104C475-CAF6-4154-98C8-0BDB751BA3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84199" y="4414788"/>
            <a:ext cx="1707481" cy="328295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Here</a:t>
            </a:r>
          </a:p>
        </p:txBody>
      </p:sp>
      <p:sp>
        <p:nvSpPr>
          <p:cNvPr id="32" name="Text Placeholder 23">
            <a:extLst>
              <a:ext uri="{FF2B5EF4-FFF2-40B4-BE49-F238E27FC236}">
                <a16:creationId xmlns:a16="http://schemas.microsoft.com/office/drawing/2014/main" id="{F6822165-6519-4C3E-B49C-98C0ECB2BB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31892" y="4814290"/>
            <a:ext cx="1707479" cy="974626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ante, </a:t>
            </a:r>
            <a:r>
              <a:rPr lang="en-US" err="1"/>
              <a:t>pretium</a:t>
            </a:r>
            <a:r>
              <a:rPr lang="en-US"/>
              <a:t> vitae </a:t>
            </a:r>
            <a:r>
              <a:rPr lang="en-US" err="1"/>
              <a:t>leo</a:t>
            </a:r>
            <a:r>
              <a:rPr lang="en-US"/>
              <a:t> non, dictum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ante, </a:t>
            </a:r>
            <a:r>
              <a:rPr lang="en-US" err="1"/>
              <a:t>pretium</a:t>
            </a:r>
            <a:r>
              <a:rPr lang="en-US"/>
              <a:t> vitae </a:t>
            </a:r>
            <a:r>
              <a:rPr lang="en-US" err="1"/>
              <a:t>leo</a:t>
            </a:r>
            <a:r>
              <a:rPr lang="en-US"/>
              <a:t> non, dictum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pellentesque</a:t>
            </a:r>
            <a:endParaRPr lang="en-US"/>
          </a:p>
        </p:txBody>
      </p:sp>
      <p:sp>
        <p:nvSpPr>
          <p:cNvPr id="33" name="Text Placeholder 23">
            <a:extLst>
              <a:ext uri="{FF2B5EF4-FFF2-40B4-BE49-F238E27FC236}">
                <a16:creationId xmlns:a16="http://schemas.microsoft.com/office/drawing/2014/main" id="{3DDF181E-F427-4D17-A195-38D0E368A4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31892" y="4414788"/>
            <a:ext cx="1707481" cy="328295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Here</a:t>
            </a:r>
          </a:p>
        </p:txBody>
      </p:sp>
      <p:sp>
        <p:nvSpPr>
          <p:cNvPr id="34" name="Text Placeholder 23">
            <a:extLst>
              <a:ext uri="{FF2B5EF4-FFF2-40B4-BE49-F238E27FC236}">
                <a16:creationId xmlns:a16="http://schemas.microsoft.com/office/drawing/2014/main" id="{C02F9BCB-AF23-4B4E-9F5B-BC7272E3E78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75701" y="4814290"/>
            <a:ext cx="1707479" cy="974626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ante, </a:t>
            </a:r>
            <a:r>
              <a:rPr lang="en-US" err="1"/>
              <a:t>pretium</a:t>
            </a:r>
            <a:r>
              <a:rPr lang="en-US"/>
              <a:t> vitae </a:t>
            </a:r>
            <a:r>
              <a:rPr lang="en-US" err="1"/>
              <a:t>leo</a:t>
            </a:r>
            <a:r>
              <a:rPr lang="en-US"/>
              <a:t> non, dictum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ante, </a:t>
            </a:r>
            <a:r>
              <a:rPr lang="en-US" err="1"/>
              <a:t>pretium</a:t>
            </a:r>
            <a:r>
              <a:rPr lang="en-US"/>
              <a:t> vitae </a:t>
            </a:r>
            <a:r>
              <a:rPr lang="en-US" err="1"/>
              <a:t>leo</a:t>
            </a:r>
            <a:r>
              <a:rPr lang="en-US"/>
              <a:t> non, dictum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pellentesque</a:t>
            </a:r>
            <a:endParaRPr lang="en-US"/>
          </a:p>
        </p:txBody>
      </p:sp>
      <p:sp>
        <p:nvSpPr>
          <p:cNvPr id="35" name="Text Placeholder 23">
            <a:extLst>
              <a:ext uri="{FF2B5EF4-FFF2-40B4-BE49-F238E27FC236}">
                <a16:creationId xmlns:a16="http://schemas.microsoft.com/office/drawing/2014/main" id="{F237E6F8-FC77-4E5A-A8D6-11E2A30D511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75701" y="4414788"/>
            <a:ext cx="1707481" cy="328295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Here</a:t>
            </a:r>
          </a:p>
        </p:txBody>
      </p:sp>
      <p:sp>
        <p:nvSpPr>
          <p:cNvPr id="36" name="Text Placeholder 23">
            <a:extLst>
              <a:ext uri="{FF2B5EF4-FFF2-40B4-BE49-F238E27FC236}">
                <a16:creationId xmlns:a16="http://schemas.microsoft.com/office/drawing/2014/main" id="{C409C372-9082-4136-AEB6-3C28186DCC4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218268" y="4814290"/>
            <a:ext cx="1707479" cy="974626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ante, </a:t>
            </a:r>
            <a:r>
              <a:rPr lang="en-US" err="1"/>
              <a:t>pretium</a:t>
            </a:r>
            <a:r>
              <a:rPr lang="en-US"/>
              <a:t> vitae </a:t>
            </a:r>
            <a:r>
              <a:rPr lang="en-US" err="1"/>
              <a:t>leo</a:t>
            </a:r>
            <a:r>
              <a:rPr lang="en-US"/>
              <a:t> non, dictum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pellentesque</a:t>
            </a:r>
            <a:r>
              <a:rPr lang="en-US"/>
              <a:t> </a:t>
            </a:r>
            <a:r>
              <a:rPr lang="en-US" err="1"/>
              <a:t>Nulla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ante, </a:t>
            </a:r>
            <a:r>
              <a:rPr lang="en-US" err="1"/>
              <a:t>pretium</a:t>
            </a:r>
            <a:r>
              <a:rPr lang="en-US"/>
              <a:t> vitae </a:t>
            </a:r>
            <a:r>
              <a:rPr lang="en-US" err="1"/>
              <a:t>leo</a:t>
            </a:r>
            <a:r>
              <a:rPr lang="en-US"/>
              <a:t> non, dictum </a:t>
            </a:r>
            <a:r>
              <a:rPr lang="en-US" err="1"/>
              <a:t>faucibus</a:t>
            </a:r>
            <a:r>
              <a:rPr lang="en-US"/>
              <a:t> </a:t>
            </a:r>
            <a:r>
              <a:rPr lang="en-US" err="1"/>
              <a:t>tellus</a:t>
            </a:r>
            <a:r>
              <a:rPr lang="en-US"/>
              <a:t> </a:t>
            </a:r>
            <a:r>
              <a:rPr lang="en-US" err="1"/>
              <a:t>pellentesque</a:t>
            </a:r>
            <a:endParaRPr lang="en-US"/>
          </a:p>
        </p:txBody>
      </p:sp>
      <p:sp>
        <p:nvSpPr>
          <p:cNvPr id="37" name="Text Placeholder 23">
            <a:extLst>
              <a:ext uri="{FF2B5EF4-FFF2-40B4-BE49-F238E27FC236}">
                <a16:creationId xmlns:a16="http://schemas.microsoft.com/office/drawing/2014/main" id="{52112B7B-6CE0-4741-82A7-32B5D2C5616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18267" y="4414788"/>
            <a:ext cx="1707481" cy="328295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Here</a:t>
            </a:r>
          </a:p>
        </p:txBody>
      </p:sp>
      <p:sp>
        <p:nvSpPr>
          <p:cNvPr id="38" name="Text Placeholder 23">
            <a:extLst>
              <a:ext uri="{FF2B5EF4-FFF2-40B4-BE49-F238E27FC236}">
                <a16:creationId xmlns:a16="http://schemas.microsoft.com/office/drawing/2014/main" id="{E1605E27-998B-4D6B-B41F-AA8DA2AD11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0678" y="611520"/>
            <a:ext cx="2911566" cy="942053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b">
            <a:spAutoFit/>
          </a:bodyPr>
          <a:lstStyle>
            <a:lvl1pPr marL="0" indent="0">
              <a:buNone/>
              <a:defRPr lang="en-US" sz="3200" b="1" cap="all" spc="150" dirty="0">
                <a:solidFill>
                  <a:schemeClr val="tx2"/>
                </a:solidFill>
                <a:latin typeface="+mj-lt"/>
              </a:defRPr>
            </a:lvl1pPr>
          </a:lstStyle>
          <a:p>
            <a:pPr marL="0" lvl="0"/>
            <a:r>
              <a:rPr lang="en-US"/>
              <a:t>Title Goes Her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E37A23F-F8F6-0795-A39C-84DF141F65C9}"/>
              </a:ext>
            </a:extLst>
          </p:cNvPr>
          <p:cNvSpPr/>
          <p:nvPr userDrawn="1"/>
        </p:nvSpPr>
        <p:spPr>
          <a:xfrm>
            <a:off x="1061357" y="1932025"/>
            <a:ext cx="2062843" cy="206284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2C082F4-F008-7DB0-F241-E051DA5F902F}"/>
              </a:ext>
            </a:extLst>
          </p:cNvPr>
          <p:cNvSpPr/>
          <p:nvPr userDrawn="1"/>
        </p:nvSpPr>
        <p:spPr>
          <a:xfrm>
            <a:off x="3702957" y="1932025"/>
            <a:ext cx="2062843" cy="206284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D476368-C7BD-3133-86CE-707BDF302112}"/>
              </a:ext>
            </a:extLst>
          </p:cNvPr>
          <p:cNvSpPr/>
          <p:nvPr userDrawn="1"/>
        </p:nvSpPr>
        <p:spPr>
          <a:xfrm>
            <a:off x="6344557" y="1932025"/>
            <a:ext cx="2062843" cy="206284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935779C-D438-1D62-DDA0-B0409CC8C46F}"/>
              </a:ext>
            </a:extLst>
          </p:cNvPr>
          <p:cNvSpPr/>
          <p:nvPr userDrawn="1"/>
        </p:nvSpPr>
        <p:spPr>
          <a:xfrm>
            <a:off x="8986157" y="1932025"/>
            <a:ext cx="2062843" cy="2062843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3">
            <a:extLst>
              <a:ext uri="{FF2B5EF4-FFF2-40B4-BE49-F238E27FC236}">
                <a16:creationId xmlns:a16="http://schemas.microsoft.com/office/drawing/2014/main" id="{66037C8A-61C2-5AF9-92D8-6A05BD04373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229770" y="2224760"/>
            <a:ext cx="1707481" cy="328295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Here</a:t>
            </a:r>
          </a:p>
        </p:txBody>
      </p:sp>
      <p:sp>
        <p:nvSpPr>
          <p:cNvPr id="8" name="Text Placeholder 23">
            <a:extLst>
              <a:ext uri="{FF2B5EF4-FFF2-40B4-BE49-F238E27FC236}">
                <a16:creationId xmlns:a16="http://schemas.microsoft.com/office/drawing/2014/main" id="{2E50DFBA-3F23-C849-6BC7-B8E7B81810C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877463" y="2224760"/>
            <a:ext cx="1707481" cy="328295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Here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46DA028D-2EAB-79F1-84A6-7BF5C05350F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21272" y="2224760"/>
            <a:ext cx="1707481" cy="328295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Title Her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3744F10-CA7E-90DE-1A7C-2C8055A3F09A}"/>
              </a:ext>
            </a:extLst>
          </p:cNvPr>
          <p:cNvCxnSpPr/>
          <p:nvPr userDrawn="1"/>
        </p:nvCxnSpPr>
        <p:spPr>
          <a:xfrm>
            <a:off x="1793511" y="3869180"/>
            <a:ext cx="60213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5CB6109-D2EA-B978-AC85-23F7C171238E}"/>
              </a:ext>
            </a:extLst>
          </p:cNvPr>
          <p:cNvCxnSpPr/>
          <p:nvPr userDrawn="1"/>
        </p:nvCxnSpPr>
        <p:spPr>
          <a:xfrm>
            <a:off x="4460482" y="3869180"/>
            <a:ext cx="60213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B397D83-6757-9A1E-988D-6A9483192F75}"/>
              </a:ext>
            </a:extLst>
          </p:cNvPr>
          <p:cNvCxnSpPr/>
          <p:nvPr userDrawn="1"/>
        </p:nvCxnSpPr>
        <p:spPr>
          <a:xfrm>
            <a:off x="7098678" y="3869180"/>
            <a:ext cx="60213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B5AA112-2467-B947-073B-5F87F9B7B531}"/>
              </a:ext>
            </a:extLst>
          </p:cNvPr>
          <p:cNvCxnSpPr/>
          <p:nvPr userDrawn="1"/>
        </p:nvCxnSpPr>
        <p:spPr>
          <a:xfrm>
            <a:off x="9765649" y="3869180"/>
            <a:ext cx="60213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98FAE14-0BBA-3524-EE54-7D1AB144B1C4}"/>
              </a:ext>
            </a:extLst>
          </p:cNvPr>
          <p:cNvCxnSpPr/>
          <p:nvPr userDrawn="1"/>
        </p:nvCxnSpPr>
        <p:spPr>
          <a:xfrm>
            <a:off x="1793511" y="6072801"/>
            <a:ext cx="60213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0F8BB55-F09A-21B9-C40C-0E51427F0EED}"/>
              </a:ext>
            </a:extLst>
          </p:cNvPr>
          <p:cNvCxnSpPr/>
          <p:nvPr userDrawn="1"/>
        </p:nvCxnSpPr>
        <p:spPr>
          <a:xfrm>
            <a:off x="4460482" y="6072801"/>
            <a:ext cx="60213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7BD221-C2E4-7677-63CA-2ABC930E8794}"/>
              </a:ext>
            </a:extLst>
          </p:cNvPr>
          <p:cNvCxnSpPr/>
          <p:nvPr userDrawn="1"/>
        </p:nvCxnSpPr>
        <p:spPr>
          <a:xfrm>
            <a:off x="7098678" y="6072801"/>
            <a:ext cx="60213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46B547B-3D16-AD7B-4BB1-D61F1ECC10CD}"/>
              </a:ext>
            </a:extLst>
          </p:cNvPr>
          <p:cNvCxnSpPr/>
          <p:nvPr userDrawn="1"/>
        </p:nvCxnSpPr>
        <p:spPr>
          <a:xfrm>
            <a:off x="9765649" y="6072801"/>
            <a:ext cx="60213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005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9" grpId="0" animBg="1"/>
      <p:bldP spid="14" grpId="0" animBg="1"/>
      <p:bldP spid="19" grpId="0" animBg="1"/>
      <p:bldP spid="3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7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8" grpId="0" animBg="1">
        <p:tmplLst>
          <p:tmpl>
            <p:tnLst>
              <p:par>
                <p:cTn presetID="2" presetClass="entr" presetSubtype="8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750" fill="hold"/>
                        <p:tgtEl>
                          <p:spTgt spid="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750" fill="hold"/>
                        <p:tgtEl>
                          <p:spTgt spid="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" grpId="0" animBg="1"/>
      <p:bldP spid="3" grpId="0" animBg="1"/>
      <p:bldP spid="5" grpId="0" animBg="1"/>
      <p:bldP spid="6" grpId="0" animBg="1"/>
      <p:bldP spid="7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0"/>
            <a:ext cx="12192000" cy="1330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7896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A01E7-A1B1-4219-9253-77B5143DF017}" type="datetime1">
              <a:rPr lang="en-GB" smtClean="0"/>
              <a:t>19/06/2024</a:t>
            </a:fld>
            <a:endParaRPr lang="en-US"/>
          </a:p>
        </p:txBody>
      </p:sp>
      <p:sp>
        <p:nvSpPr>
          <p:cNvPr id="3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430367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4E764CBE-A6B9-A945-6A3E-F9D71A80F56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/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LIGHT </a:t>
            </a:r>
            <a:r>
              <a:rPr lang="da-DK" dirty="0" err="1"/>
              <a:t>backgroun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316468"/>
            <a:ext cx="11197703" cy="1230337"/>
          </a:xfrm>
        </p:spPr>
        <p:txBody>
          <a:bodyPr anchor="b"/>
          <a:lstStyle>
            <a:lvl1pPr algn="l">
              <a:lnSpc>
                <a:spcPts val="9000"/>
              </a:lnSpc>
              <a:defRPr sz="12000"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79F4468-C1FF-64B0-EF4F-D5E6B4F738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510547"/>
            <a:ext cx="7776292" cy="1071880"/>
          </a:xfrm>
        </p:spPr>
        <p:txBody>
          <a:bodyPr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title</a:t>
            </a:r>
            <a:r>
              <a:rPr lang="da-DK" dirty="0"/>
              <a:t> or date</a:t>
            </a:r>
          </a:p>
        </p:txBody>
      </p:sp>
      <p:sp>
        <p:nvSpPr>
          <p:cNvPr id="4" name="Logo Placeholder 9">
            <a:extLst>
              <a:ext uri="{FF2B5EF4-FFF2-40B4-BE49-F238E27FC236}">
                <a16:creationId xmlns:a16="http://schemas.microsoft.com/office/drawing/2014/main" id="{F158071A-D44A-20E1-CF4E-1E9FD6C17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80889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el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4E764CBE-A6B9-A945-6A3E-F9D71A80F56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</a:t>
            </a:r>
            <a:r>
              <a:rPr lang="da-DK" dirty="0" err="1"/>
              <a:t>icon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DARK </a:t>
            </a:r>
            <a:r>
              <a:rPr lang="da-DK" dirty="0" err="1"/>
              <a:t>background</a:t>
            </a:r>
            <a:r>
              <a:rPr lang="da-DK" dirty="0"/>
              <a:t> </a:t>
            </a:r>
            <a:r>
              <a:rPr lang="da-DK" dirty="0" err="1"/>
              <a:t>picture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316468"/>
            <a:ext cx="11197703" cy="1230337"/>
          </a:xfrm>
        </p:spPr>
        <p:txBody>
          <a:bodyPr anchor="b"/>
          <a:lstStyle>
            <a:lvl1pPr algn="l">
              <a:lnSpc>
                <a:spcPts val="9000"/>
              </a:lnSpc>
              <a:defRPr sz="12000">
                <a:solidFill>
                  <a:schemeClr val="bg2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79F4468-C1FF-64B0-EF4F-D5E6B4F738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510547"/>
            <a:ext cx="7776292" cy="107188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title</a:t>
            </a:r>
            <a:r>
              <a:rPr lang="da-DK" dirty="0"/>
              <a:t> or date</a:t>
            </a:r>
          </a:p>
        </p:txBody>
      </p:sp>
      <p:sp>
        <p:nvSpPr>
          <p:cNvPr id="7" name="Logo Placeholder 9">
            <a:extLst>
              <a:ext uri="{FF2B5EF4-FFF2-40B4-BE49-F238E27FC236}">
                <a16:creationId xmlns:a16="http://schemas.microsoft.com/office/drawing/2014/main" id="{76B89C13-DE2E-EE02-3A19-0081F79616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1806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og indholdsobjek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">
            <a:extLst>
              <a:ext uri="{FF2B5EF4-FFF2-40B4-BE49-F238E27FC236}">
                <a16:creationId xmlns:a16="http://schemas.microsoft.com/office/drawing/2014/main" id="{D17F83DC-ACEC-4D00-6DB7-3D386835EC7F}"/>
              </a:ext>
            </a:extLst>
          </p:cNvPr>
          <p:cNvSpPr/>
          <p:nvPr userDrawn="1"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1" noProof="0" dirty="0">
              <a:solidFill>
                <a:schemeClr val="bg1"/>
              </a:solidFill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16488"/>
            <a:ext cx="3319792" cy="1190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48267" y="597853"/>
            <a:ext cx="6827796" cy="5494972"/>
          </a:xfrm>
        </p:spPr>
        <p:txBody>
          <a:bodyPr/>
          <a:lstStyle>
            <a:lvl1pPr>
              <a:spcBef>
                <a:spcPts val="2200"/>
              </a:spcBef>
              <a:defRPr sz="2000" b="0" i="0">
                <a:solidFill>
                  <a:schemeClr val="accent2"/>
                </a:solidFill>
                <a:latin typeface="GT Walsheim Pro Bold" pitchFamily="2" charset="77"/>
              </a:defRPr>
            </a:lvl1pPr>
            <a:lvl2pPr marL="936625" indent="-927100">
              <a:tabLst/>
              <a:defRPr sz="1400" cap="none" baseline="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Første emne denne dag</a:t>
            </a:r>
          </a:p>
          <a:p>
            <a:pPr lvl="1"/>
            <a:r>
              <a:rPr lang="da-DK" dirty="0"/>
              <a:t>Andet niveau</a:t>
            </a:r>
          </a:p>
          <a:p>
            <a:pPr lvl="0"/>
            <a:r>
              <a:rPr lang="da-DK" dirty="0"/>
              <a:t>Andet emne denne dag</a:t>
            </a:r>
          </a:p>
          <a:p>
            <a:pPr lvl="1"/>
            <a:r>
              <a:rPr lang="da-DK" dirty="0"/>
              <a:t>Forklaring om emnet</a:t>
            </a:r>
          </a:p>
          <a:p>
            <a:pPr lvl="0"/>
            <a:r>
              <a:rPr lang="da-DK" dirty="0"/>
              <a:t>Andet emne denne dag</a:t>
            </a:r>
          </a:p>
          <a:p>
            <a:pPr lvl="1"/>
            <a:r>
              <a:rPr lang="da-DK" dirty="0"/>
              <a:t>Forklaring om emnet</a:t>
            </a:r>
          </a:p>
          <a:p>
            <a:pPr lvl="0"/>
            <a:r>
              <a:rPr lang="da-DK" dirty="0"/>
              <a:t>Andet emne denne dag</a:t>
            </a:r>
          </a:p>
          <a:p>
            <a:pPr lvl="1"/>
            <a:r>
              <a:rPr lang="da-DK" dirty="0"/>
              <a:t>Forklaring om emnet</a:t>
            </a:r>
          </a:p>
          <a:p>
            <a:pPr lvl="0"/>
            <a:r>
              <a:rPr lang="da-DK" dirty="0"/>
              <a:t>Andet emne denne dag</a:t>
            </a:r>
          </a:p>
          <a:p>
            <a:pPr lvl="1"/>
            <a:r>
              <a:rPr lang="da-DK" dirty="0"/>
              <a:t>Forklaring om emnet</a:t>
            </a:r>
          </a:p>
          <a:p>
            <a:pPr lvl="0"/>
            <a:r>
              <a:rPr lang="da-DK" dirty="0"/>
              <a:t>Andet emne denne dag</a:t>
            </a:r>
          </a:p>
          <a:p>
            <a:pPr lvl="1"/>
            <a:r>
              <a:rPr lang="da-DK" dirty="0"/>
              <a:t>Forklaring om emnet</a:t>
            </a:r>
          </a:p>
          <a:p>
            <a:pPr lvl="0"/>
            <a:r>
              <a:rPr lang="da-DK" dirty="0"/>
              <a:t>Andet emne denne dag</a:t>
            </a:r>
          </a:p>
          <a:p>
            <a:pPr lvl="1"/>
            <a:r>
              <a:rPr lang="da-DK" dirty="0"/>
              <a:t>Forklaring om emnet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F49CE98-5C0F-6A0E-A834-D3EF471185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441198"/>
            <a:ext cx="525018" cy="52501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6F5DF65-2BC0-5840-917D-D0D510C4BF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1251200"/>
            <a:ext cx="525018" cy="52501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B7E3642-841F-9DFE-9ABC-FF23384B0F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2061202"/>
            <a:ext cx="525018" cy="525018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AA6F554-3A96-ABD7-B97D-841A1603D1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2871204"/>
            <a:ext cx="525018" cy="52501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D7DCDA9-9CE2-76DB-7D21-1FADAD6BF5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3681206"/>
            <a:ext cx="525018" cy="52501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3E9F417-1914-6936-820E-AC8C357033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4491208"/>
            <a:ext cx="525018" cy="52501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F7D10C6-48F9-6F1E-E6D3-9F3C266AC8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5301208"/>
            <a:ext cx="525018" cy="525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570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el og indholdsobjek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8363"/>
            <a:ext cx="3319792" cy="6412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515939" y="1700213"/>
            <a:ext cx="11160126" cy="4392613"/>
          </a:xfrm>
        </p:spPr>
        <p:txBody>
          <a:bodyPr numCol="2"/>
          <a:lstStyle>
            <a:lvl1pPr>
              <a:spcBef>
                <a:spcPts val="1600"/>
              </a:spcBef>
              <a:defRPr sz="2000" b="0" i="0">
                <a:solidFill>
                  <a:schemeClr val="tx1"/>
                </a:solidFill>
                <a:latin typeface="GT Walsheim Pro Bold" pitchFamily="2" charset="77"/>
              </a:defRPr>
            </a:lvl1pPr>
            <a:lvl2pPr marL="936625" indent="0">
              <a:tabLst/>
              <a:defRPr sz="1400" cap="none" baseline="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08.00	Første emne denne dag</a:t>
            </a:r>
          </a:p>
          <a:p>
            <a:pPr lvl="1"/>
            <a:r>
              <a:rPr lang="da-DK" dirty="0"/>
              <a:t>Andet niveau</a:t>
            </a:r>
          </a:p>
          <a:p>
            <a:pPr lvl="0"/>
            <a:r>
              <a:rPr lang="da-DK" dirty="0"/>
              <a:t>10.15	Andet emne denne dag</a:t>
            </a:r>
          </a:p>
          <a:p>
            <a:pPr lvl="1"/>
            <a:r>
              <a:rPr lang="da-DK" dirty="0"/>
              <a:t>Forklaring om emnet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9134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616489"/>
            <a:ext cx="11160125" cy="417182"/>
          </a:xfrm>
        </p:spPr>
        <p:txBody>
          <a:bodyPr/>
          <a:lstStyle/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2ACA9BA9-37BB-E578-789F-EFDEEB8344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122045"/>
            <a:ext cx="11160125" cy="384175"/>
          </a:xfrm>
        </p:spPr>
        <p:txBody>
          <a:bodyPr/>
          <a:lstStyle>
            <a:lvl1pPr>
              <a:defRPr sz="2000" cap="all" baseline="0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ject</a:t>
            </a:r>
            <a:r>
              <a:rPr lang="da-DK" dirty="0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268839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DF1E1D36-AF82-D3D7-2A46-DA13A0F26E2E}"/>
              </a:ext>
            </a:extLst>
          </p:cNvPr>
          <p:cNvSpPr/>
          <p:nvPr/>
        </p:nvSpPr>
        <p:spPr>
          <a:xfrm>
            <a:off x="0" y="0"/>
            <a:ext cx="287382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1" dirty="0"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619825"/>
            <a:ext cx="2084759" cy="2016497"/>
          </a:xfrm>
        </p:spPr>
        <p:txBody>
          <a:bodyPr/>
          <a:lstStyle>
            <a:lvl1pPr>
              <a:lnSpc>
                <a:spcPts val="4000"/>
              </a:lnSpc>
              <a:defRPr/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/>
          </p:nvPr>
        </p:nvSpPr>
        <p:spPr>
          <a:xfrm>
            <a:off x="3313216" y="584200"/>
            <a:ext cx="8362846" cy="549255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5938" y="3455988"/>
            <a:ext cx="2179637" cy="2636837"/>
          </a:xfrm>
        </p:spPr>
        <p:txBody>
          <a:bodyPr anchor="b" anchorCtr="0"/>
          <a:lstStyle/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03834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og indholdsobjek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00F0E8E2-F8DC-2271-A863-DF672E5C22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pic>
        <p:nvPicPr>
          <p:cNvPr id="4" name="Billede 4">
            <a:extLst>
              <a:ext uri="{FF2B5EF4-FFF2-40B4-BE49-F238E27FC236}">
                <a16:creationId xmlns:a16="http://schemas.microsoft.com/office/drawing/2014/main" id="{90B1529D-6E22-99F6-9369-FE47FAC0B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BEB27C3-72A2-5D4A-9AA8-1FA1F965A8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122045"/>
            <a:ext cx="11160125" cy="384175"/>
          </a:xfrm>
        </p:spPr>
        <p:txBody>
          <a:bodyPr/>
          <a:lstStyle>
            <a:lvl1pPr>
              <a:defRPr sz="2000" b="0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</a:t>
            </a:r>
          </a:p>
        </p:txBody>
      </p:sp>
    </p:spTree>
    <p:extLst>
      <p:ext uri="{BB962C8B-B14F-4D97-AF65-F5344CB8AC3E}">
        <p14:creationId xmlns:p14="http://schemas.microsoft.com/office/powerpoint/2010/main" val="141515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DF1E1D36-AF82-D3D7-2A46-DA13A0F26E2E}"/>
              </a:ext>
            </a:extLst>
          </p:cNvPr>
          <p:cNvSpPr/>
          <p:nvPr/>
        </p:nvSpPr>
        <p:spPr>
          <a:xfrm>
            <a:off x="0" y="0"/>
            <a:ext cx="287382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1" dirty="0"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619825"/>
            <a:ext cx="2084759" cy="1043555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/>
          </p:nvPr>
        </p:nvSpPr>
        <p:spPr>
          <a:xfrm>
            <a:off x="3313216" y="584200"/>
            <a:ext cx="8362846" cy="549255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5938" y="3455988"/>
            <a:ext cx="2179637" cy="2636837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58750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9764CE5A-FEFC-FD55-E2F0-E4E53181C8A7}"/>
              </a:ext>
            </a:extLst>
          </p:cNvPr>
          <p:cNvSpPr/>
          <p:nvPr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1" noProof="0" dirty="0">
              <a:solidFill>
                <a:schemeClr val="bg1"/>
              </a:solidFill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619825"/>
            <a:ext cx="3366515" cy="1748621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/>
          </p:nvPr>
        </p:nvSpPr>
        <p:spPr>
          <a:xfrm>
            <a:off x="4287520" y="0"/>
            <a:ext cx="7898903" cy="6858000"/>
          </a:xfrm>
          <a:ln>
            <a:noFill/>
          </a:ln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5938" y="3455988"/>
            <a:ext cx="3396495" cy="2636837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49164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44E3B931-B4F4-7765-DE97-E06544D9122A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0" y="0"/>
            <a:ext cx="4291013" cy="6858000"/>
          </a:xfrm>
        </p:spPr>
        <p:txBody>
          <a:bodyPr bIns="972000" anchor="ctr" anchorCtr="1"/>
          <a:lstStyle/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photo</a:t>
            </a:r>
            <a:endParaRPr lang="da-DK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764CE5A-FEFC-FD55-E2F0-E4E53181C8A7}"/>
              </a:ext>
            </a:extLst>
          </p:cNvPr>
          <p:cNvSpPr/>
          <p:nvPr/>
        </p:nvSpPr>
        <p:spPr>
          <a:xfrm>
            <a:off x="4296427" y="0"/>
            <a:ext cx="7895574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1" noProof="0" dirty="0">
              <a:solidFill>
                <a:schemeClr val="bg1"/>
              </a:solidFill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5" y="619826"/>
            <a:ext cx="6846155" cy="997960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/>
          </p:nvPr>
        </p:nvSpPr>
        <p:spPr>
          <a:xfrm>
            <a:off x="4829908" y="1700213"/>
            <a:ext cx="6846155" cy="4392612"/>
          </a:xfrm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9" name="Billede 4">
            <a:extLst>
              <a:ext uri="{FF2B5EF4-FFF2-40B4-BE49-F238E27FC236}">
                <a16:creationId xmlns:a16="http://schemas.microsoft.com/office/drawing/2014/main" id="{E3B9C3F1-C979-5D87-0291-874DFFD069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05A61DA8-3761-2474-5FA5-50DD884EF3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13540" y="1122045"/>
            <a:ext cx="6862523" cy="430710"/>
          </a:xfrm>
        </p:spPr>
        <p:txBody>
          <a:bodyPr/>
          <a:lstStyle>
            <a:lvl1pPr>
              <a:defRPr sz="2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ject</a:t>
            </a:r>
            <a:r>
              <a:rPr lang="da-DK" dirty="0"/>
              <a:t> line</a:t>
            </a:r>
          </a:p>
        </p:txBody>
      </p:sp>
    </p:spTree>
    <p:extLst>
      <p:ext uri="{BB962C8B-B14F-4D97-AF65-F5344CB8AC3E}">
        <p14:creationId xmlns:p14="http://schemas.microsoft.com/office/powerpoint/2010/main" val="25255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0"/>
            <a:ext cx="12192000" cy="1330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1" dirty="0"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00041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og indholdsobjek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00F0E8E2-F8DC-2271-A863-DF672E5C22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pic>
        <p:nvPicPr>
          <p:cNvPr id="4" name="Billede 4">
            <a:extLst>
              <a:ext uri="{FF2B5EF4-FFF2-40B4-BE49-F238E27FC236}">
                <a16:creationId xmlns:a16="http://schemas.microsoft.com/office/drawing/2014/main" id="{90B1529D-6E22-99F6-9369-FE47FAC0B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BEB27C3-72A2-5D4A-9AA8-1FA1F965A8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122045"/>
            <a:ext cx="11160125" cy="384175"/>
          </a:xfrm>
        </p:spPr>
        <p:txBody>
          <a:bodyPr/>
          <a:lstStyle>
            <a:lvl1pPr>
              <a:defRPr sz="2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ject</a:t>
            </a:r>
            <a:r>
              <a:rPr lang="da-DK" dirty="0"/>
              <a:t> line</a:t>
            </a:r>
          </a:p>
        </p:txBody>
      </p:sp>
    </p:spTree>
    <p:extLst>
      <p:ext uri="{BB962C8B-B14F-4D97-AF65-F5344CB8AC3E}">
        <p14:creationId xmlns:p14="http://schemas.microsoft.com/office/powerpoint/2010/main" val="422204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 og indholdsobjekt">
    <p:bg>
      <p:bgPr>
        <a:gradFill flip="none" rotWithShape="1">
          <a:gsLst>
            <a:gs pos="0">
              <a:schemeClr val="tx1"/>
            </a:gs>
            <a:gs pos="50000">
              <a:schemeClr val="tx1">
                <a:lumMod val="94000"/>
                <a:lumOff val="6000"/>
              </a:schemeClr>
            </a:gs>
            <a:gs pos="100000">
              <a:schemeClr val="accent2">
                <a:lumMod val="68000"/>
              </a:schemeClr>
            </a:gs>
          </a:gsLst>
          <a:lin ang="4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title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00F0E8E2-F8DC-2271-A863-DF672E5C22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pic>
        <p:nvPicPr>
          <p:cNvPr id="4" name="Billede 4">
            <a:extLst>
              <a:ext uri="{FF2B5EF4-FFF2-40B4-BE49-F238E27FC236}">
                <a16:creationId xmlns:a16="http://schemas.microsoft.com/office/drawing/2014/main" id="{EB0D3D71-B848-47CB-86AC-C0AB445C8E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9" name="Pladsholder til tekst 4">
            <a:extLst>
              <a:ext uri="{FF2B5EF4-FFF2-40B4-BE49-F238E27FC236}">
                <a16:creationId xmlns:a16="http://schemas.microsoft.com/office/drawing/2014/main" id="{A79A7248-1562-C612-4DCE-2164BFD935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122045"/>
            <a:ext cx="11160125" cy="384175"/>
          </a:xfrm>
        </p:spPr>
        <p:txBody>
          <a:bodyPr/>
          <a:lstStyle>
            <a:lvl1pPr>
              <a:defRPr sz="20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ject</a:t>
            </a:r>
            <a:r>
              <a:rPr lang="da-DK" dirty="0"/>
              <a:t> line</a:t>
            </a:r>
          </a:p>
        </p:txBody>
      </p:sp>
    </p:spTree>
    <p:extLst>
      <p:ext uri="{BB962C8B-B14F-4D97-AF65-F5344CB8AC3E}">
        <p14:creationId xmlns:p14="http://schemas.microsoft.com/office/powerpoint/2010/main" val="148856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320914-BF76-4E59-EA76-E76A44BBA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6FA621F-F8FC-407F-36EC-CE2B68BF1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t>‹#›</a:t>
            </a:fld>
            <a:endParaRPr lang="da-DK"/>
          </a:p>
        </p:txBody>
      </p:sp>
      <p:sp>
        <p:nvSpPr>
          <p:cNvPr id="3" name="Pladsholder til tekst 4">
            <a:extLst>
              <a:ext uri="{FF2B5EF4-FFF2-40B4-BE49-F238E27FC236}">
                <a16:creationId xmlns:a16="http://schemas.microsoft.com/office/drawing/2014/main" id="{FEF08FA9-97AD-E066-C97C-ABD74D6F58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122045"/>
            <a:ext cx="11160125" cy="384175"/>
          </a:xfrm>
        </p:spPr>
        <p:txBody>
          <a:bodyPr/>
          <a:lstStyle>
            <a:lvl1pPr>
              <a:defRPr sz="2000" cap="all" baseline="0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ject</a:t>
            </a:r>
            <a:r>
              <a:rPr lang="da-DK" dirty="0"/>
              <a:t> line</a:t>
            </a:r>
          </a:p>
        </p:txBody>
      </p:sp>
    </p:spTree>
    <p:extLst>
      <p:ext uri="{BB962C8B-B14F-4D97-AF65-F5344CB8AC3E}">
        <p14:creationId xmlns:p14="http://schemas.microsoft.com/office/powerpoint/2010/main" val="407759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24A745AC-2BEA-2FB5-B56F-F4C64709A71F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0" y="3357563"/>
            <a:ext cx="12192000" cy="3500437"/>
          </a:xfrm>
          <a:solidFill>
            <a:schemeClr val="bg2"/>
          </a:solidFill>
        </p:spPr>
        <p:txBody>
          <a:bodyPr/>
          <a:lstStyle/>
          <a:p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320914-BF76-4E59-EA76-E76A44BBA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slidenummer 4">
            <a:extLst>
              <a:ext uri="{FF2B5EF4-FFF2-40B4-BE49-F238E27FC236}">
                <a16:creationId xmlns:a16="http://schemas.microsoft.com/office/drawing/2014/main" id="{1805C3DA-FB30-3CB2-AAAF-B3A0414E2D80}"/>
              </a:ext>
            </a:extLst>
          </p:cNvPr>
          <p:cNvSpPr txBox="1">
            <a:spLocks/>
          </p:cNvSpPr>
          <p:nvPr userDrawn="1"/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GT Walsheim Pro Ligh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BC3415-6A21-2E49-A058-D443F991EEAB}" type="slidenum">
              <a:rPr lang="da-DK" smtClean="0">
                <a:latin typeface="GT Walsheim Pro" panose="00000500000000000000" pitchFamily="50" charset="0"/>
              </a:rPr>
              <a:pPr/>
              <a:t>‹#›</a:t>
            </a:fld>
            <a:endParaRPr lang="da-DK" dirty="0">
              <a:latin typeface="GT Walsheim Pro" panose="00000500000000000000" pitchFamily="50" charset="0"/>
            </a:endParaRPr>
          </a:p>
        </p:txBody>
      </p:sp>
      <p:sp>
        <p:nvSpPr>
          <p:cNvPr id="6" name="Pladsholder til indhold 6">
            <a:extLst>
              <a:ext uri="{FF2B5EF4-FFF2-40B4-BE49-F238E27FC236}">
                <a16:creationId xmlns:a16="http://schemas.microsoft.com/office/drawing/2014/main" id="{F520E249-E551-2211-DEB5-08A56958E64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59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8C236FEF-CDAE-170A-E385-998A41D9C8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277018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41E94D16-2920-1480-B842-D6E49514B97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244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9" name="Pladsholder til indhold 6">
            <a:extLst>
              <a:ext uri="{FF2B5EF4-FFF2-40B4-BE49-F238E27FC236}">
                <a16:creationId xmlns:a16="http://schemas.microsoft.com/office/drawing/2014/main" id="{E2C8F437-1324-DB2D-99AE-0CAAA9F59CE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27868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0" name="Pladsholder til indhold 6">
            <a:extLst>
              <a:ext uri="{FF2B5EF4-FFF2-40B4-BE49-F238E27FC236}">
                <a16:creationId xmlns:a16="http://schemas.microsoft.com/office/drawing/2014/main" id="{426B4731-5D4E-0A5D-7106-D71B4A7FB52F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5329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pic>
        <p:nvPicPr>
          <p:cNvPr id="11" name="Picture 20">
            <a:extLst>
              <a:ext uri="{FF2B5EF4-FFF2-40B4-BE49-F238E27FC236}">
                <a16:creationId xmlns:a16="http://schemas.microsoft.com/office/drawing/2014/main" id="{35F2F373-99F1-B67D-469C-72BDE2BC30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53D17F-DEB9-DDA2-91AA-0401C6AF9A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122045"/>
            <a:ext cx="11160125" cy="384175"/>
          </a:xfrm>
        </p:spPr>
        <p:txBody>
          <a:bodyPr/>
          <a:lstStyle>
            <a:lvl1pPr>
              <a:defRPr sz="2000" cap="all" baseline="0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add</a:t>
            </a:r>
            <a:r>
              <a:rPr lang="da-DK" dirty="0"/>
              <a:t> </a:t>
            </a:r>
            <a:r>
              <a:rPr lang="da-DK" dirty="0" err="1"/>
              <a:t>subject</a:t>
            </a:r>
            <a:r>
              <a:rPr lang="da-DK" dirty="0"/>
              <a:t> line</a:t>
            </a:r>
          </a:p>
        </p:txBody>
      </p:sp>
    </p:spTree>
    <p:extLst>
      <p:ext uri="{BB962C8B-B14F-4D97-AF65-F5344CB8AC3E}">
        <p14:creationId xmlns:p14="http://schemas.microsoft.com/office/powerpoint/2010/main" val="324982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E18CD8-620D-4E7F-998A-1C89FB95605F}" type="datetime1">
              <a:rPr lang="en-GB" smtClean="0"/>
              <a:t>19/06/2024</a:t>
            </a:fld>
            <a:endParaRPr lang="en-US" dirty="0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462081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4000" y="2133600"/>
            <a:ext cx="5324400" cy="36861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Click to add text and ENTER and TAB for the nex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20E6AB47-8128-4FAA-80E2-C872F96C286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62775" y="2133600"/>
            <a:ext cx="5324400" cy="36861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add text and ENTER and TAB for the next level</a:t>
            </a:r>
          </a:p>
          <a:p>
            <a:pPr lvl="1"/>
            <a:r>
              <a:rPr lang="en-US" noProof="0"/>
              <a:t>Second </a:t>
            </a:r>
            <a:r>
              <a:rPr lang="en-US" noProof="0" dirty="0"/>
              <a:t>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7A687B-BD8D-4E66-8F9D-14FCF2F0EBB7}" type="datetime1">
              <a:rPr lang="en-GB" noProof="0" smtClean="0"/>
              <a:t>19/06/2024</a:t>
            </a:fld>
            <a:endParaRPr lang="en-US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9873C9-BF5D-4A9A-BB31-45BBB7BABAF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43320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73">
          <p15:clr>
            <a:srgbClr val="F26B43"/>
          </p15:clr>
        </p15:guide>
        <p15:guide id="2" pos="4002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 og indholdsobjekt">
    <p:bg>
      <p:bgPr>
        <a:gradFill flip="none" rotWithShape="1">
          <a:gsLst>
            <a:gs pos="0">
              <a:schemeClr val="tx1"/>
            </a:gs>
            <a:gs pos="50000">
              <a:schemeClr val="tx1">
                <a:lumMod val="94000"/>
                <a:lumOff val="6000"/>
              </a:schemeClr>
            </a:gs>
            <a:gs pos="100000">
              <a:schemeClr val="accent2">
                <a:lumMod val="68000"/>
              </a:schemeClr>
            </a:gs>
          </a:gsLst>
          <a:lin ang="4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00F0E8E2-F8DC-2271-A863-DF672E5C22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pic>
        <p:nvPicPr>
          <p:cNvPr id="4" name="Billede 4">
            <a:extLst>
              <a:ext uri="{FF2B5EF4-FFF2-40B4-BE49-F238E27FC236}">
                <a16:creationId xmlns:a16="http://schemas.microsoft.com/office/drawing/2014/main" id="{EB0D3D71-B848-47CB-86AC-C0AB445C8E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9" name="Pladsholder til tekst 4">
            <a:extLst>
              <a:ext uri="{FF2B5EF4-FFF2-40B4-BE49-F238E27FC236}">
                <a16:creationId xmlns:a16="http://schemas.microsoft.com/office/drawing/2014/main" id="{A79A7248-1562-C612-4DCE-2164BFD935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122045"/>
            <a:ext cx="11160125" cy="384175"/>
          </a:xfrm>
        </p:spPr>
        <p:txBody>
          <a:bodyPr/>
          <a:lstStyle>
            <a:lvl1pPr>
              <a:defRPr sz="2000" b="0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</a:t>
            </a:r>
          </a:p>
        </p:txBody>
      </p:sp>
    </p:spTree>
    <p:extLst>
      <p:ext uri="{BB962C8B-B14F-4D97-AF65-F5344CB8AC3E}">
        <p14:creationId xmlns:p14="http://schemas.microsoft.com/office/powerpoint/2010/main" val="3606726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,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87621BA-8EDC-4C18-975C-5EE1161FA8FD}"/>
              </a:ext>
            </a:extLst>
          </p:cNvPr>
          <p:cNvSpPr/>
          <p:nvPr userDrawn="1"/>
        </p:nvSpPr>
        <p:spPr>
          <a:xfrm>
            <a:off x="0" y="0"/>
            <a:ext cx="12192000" cy="6861600"/>
          </a:xfrm>
          <a:prstGeom prst="rect">
            <a:avLst/>
          </a:prstGeom>
          <a:solidFill>
            <a:srgbClr val="EE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/>
          </a:p>
        </p:txBody>
      </p:sp>
      <p:grpSp>
        <p:nvGrpSpPr>
          <p:cNvPr id="9" name="Logo">
            <a:extLst>
              <a:ext uri="{FF2B5EF4-FFF2-40B4-BE49-F238E27FC236}">
                <a16:creationId xmlns:a16="http://schemas.microsoft.com/office/drawing/2014/main" id="{F04E253C-783D-4CA5-8CCB-57C4CC102165}"/>
              </a:ext>
            </a:extLst>
          </p:cNvPr>
          <p:cNvGrpSpPr/>
          <p:nvPr userDrawn="1"/>
        </p:nvGrpSpPr>
        <p:grpSpPr>
          <a:xfrm>
            <a:off x="10893210" y="6350918"/>
            <a:ext cx="755843" cy="322808"/>
            <a:chOff x="6380216" y="4059273"/>
            <a:chExt cx="2905863" cy="1241045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8124B4D-CBE2-46DB-B0AE-2AC98C56E78E}"/>
                </a:ext>
              </a:extLst>
            </p:cNvPr>
            <p:cNvSpPr/>
            <p:nvPr/>
          </p:nvSpPr>
          <p:spPr>
            <a:xfrm>
              <a:off x="6380216" y="4059273"/>
              <a:ext cx="2905863" cy="346936"/>
            </a:xfrm>
            <a:custGeom>
              <a:avLst/>
              <a:gdLst>
                <a:gd name="connsiteX0" fmla="*/ 0 w 2905863"/>
                <a:gd name="connsiteY0" fmla="*/ 0 h 346936"/>
                <a:gd name="connsiteX1" fmla="*/ 2905864 w 2905863"/>
                <a:gd name="connsiteY1" fmla="*/ 0 h 346936"/>
                <a:gd name="connsiteX2" fmla="*/ 2905864 w 2905863"/>
                <a:gd name="connsiteY2" fmla="*/ 346937 h 346936"/>
                <a:gd name="connsiteX3" fmla="*/ 0 w 2905863"/>
                <a:gd name="connsiteY3" fmla="*/ 346937 h 346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346936">
                  <a:moveTo>
                    <a:pt x="0" y="0"/>
                  </a:moveTo>
                  <a:lnTo>
                    <a:pt x="2905864" y="0"/>
                  </a:lnTo>
                  <a:lnTo>
                    <a:pt x="2905864" y="346937"/>
                  </a:lnTo>
                  <a:lnTo>
                    <a:pt x="0" y="346937"/>
                  </a:lnTo>
                  <a:close/>
                </a:path>
              </a:pathLst>
            </a:custGeom>
            <a:solidFill>
              <a:srgbClr val="99D9F0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916864-12FB-478F-99EE-83C970865F05}"/>
                </a:ext>
              </a:extLst>
            </p:cNvPr>
            <p:cNvSpPr/>
            <p:nvPr/>
          </p:nvSpPr>
          <p:spPr>
            <a:xfrm>
              <a:off x="6380216" y="4521775"/>
              <a:ext cx="2905863" cy="57854"/>
            </a:xfrm>
            <a:custGeom>
              <a:avLst/>
              <a:gdLst>
                <a:gd name="connsiteX0" fmla="*/ 0 w 2905863"/>
                <a:gd name="connsiteY0" fmla="*/ 0 h 57854"/>
                <a:gd name="connsiteX1" fmla="*/ 2905864 w 2905863"/>
                <a:gd name="connsiteY1" fmla="*/ 0 h 57854"/>
                <a:gd name="connsiteX2" fmla="*/ 2905864 w 2905863"/>
                <a:gd name="connsiteY2" fmla="*/ 57854 h 57854"/>
                <a:gd name="connsiteX3" fmla="*/ 0 w 2905863"/>
                <a:gd name="connsiteY3" fmla="*/ 57854 h 57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57854">
                  <a:moveTo>
                    <a:pt x="0" y="0"/>
                  </a:moveTo>
                  <a:lnTo>
                    <a:pt x="2905864" y="0"/>
                  </a:lnTo>
                  <a:lnTo>
                    <a:pt x="2905864" y="57854"/>
                  </a:lnTo>
                  <a:lnTo>
                    <a:pt x="0" y="57854"/>
                  </a:lnTo>
                  <a:close/>
                </a:path>
              </a:pathLst>
            </a:custGeom>
            <a:solidFill>
              <a:srgbClr val="3F9C35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0FF8E64-431E-4917-BD40-4BD55CF6B8DF}"/>
                </a:ext>
              </a:extLst>
            </p:cNvPr>
            <p:cNvSpPr/>
            <p:nvPr/>
          </p:nvSpPr>
          <p:spPr>
            <a:xfrm>
              <a:off x="6380216" y="4637294"/>
              <a:ext cx="2905863" cy="115566"/>
            </a:xfrm>
            <a:custGeom>
              <a:avLst/>
              <a:gdLst>
                <a:gd name="connsiteX0" fmla="*/ 0 w 2905863"/>
                <a:gd name="connsiteY0" fmla="*/ 0 h 115566"/>
                <a:gd name="connsiteX1" fmla="*/ 2905864 w 2905863"/>
                <a:gd name="connsiteY1" fmla="*/ 0 h 115566"/>
                <a:gd name="connsiteX2" fmla="*/ 2905864 w 2905863"/>
                <a:gd name="connsiteY2" fmla="*/ 115566 h 115566"/>
                <a:gd name="connsiteX3" fmla="*/ 0 w 2905863"/>
                <a:gd name="connsiteY3" fmla="*/ 115566 h 115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05863" h="115566">
                  <a:moveTo>
                    <a:pt x="0" y="0"/>
                  </a:moveTo>
                  <a:lnTo>
                    <a:pt x="2905864" y="0"/>
                  </a:lnTo>
                  <a:lnTo>
                    <a:pt x="2905864" y="115566"/>
                  </a:lnTo>
                  <a:lnTo>
                    <a:pt x="0" y="115566"/>
                  </a:lnTo>
                  <a:close/>
                </a:path>
              </a:pathLst>
            </a:custGeom>
            <a:solidFill>
              <a:srgbClr val="003591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E450DA2-D1AF-4EFD-A7B9-9D1161ADD54F}"/>
                </a:ext>
              </a:extLst>
            </p:cNvPr>
            <p:cNvSpPr/>
            <p:nvPr/>
          </p:nvSpPr>
          <p:spPr>
            <a:xfrm>
              <a:off x="7833598" y="4927183"/>
              <a:ext cx="392545" cy="373134"/>
            </a:xfrm>
            <a:custGeom>
              <a:avLst/>
              <a:gdLst>
                <a:gd name="connsiteX0" fmla="*/ 303984 w 392545"/>
                <a:gd name="connsiteY0" fmla="*/ 19174 h 373134"/>
                <a:gd name="connsiteX1" fmla="*/ 201992 w 392545"/>
                <a:gd name="connsiteY1" fmla="*/ 0 h 373134"/>
                <a:gd name="connsiteX2" fmla="*/ 62173 w 392545"/>
                <a:gd name="connsiteY2" fmla="*/ 0 h 373134"/>
                <a:gd name="connsiteX3" fmla="*/ 27859 w 392545"/>
                <a:gd name="connsiteY3" fmla="*/ 0 h 373134"/>
                <a:gd name="connsiteX4" fmla="*/ 0 w 392545"/>
                <a:gd name="connsiteY4" fmla="*/ 0 h 373134"/>
                <a:gd name="connsiteX5" fmla="*/ 0 w 392545"/>
                <a:gd name="connsiteY5" fmla="*/ 373135 h 373134"/>
                <a:gd name="connsiteX6" fmla="*/ 27859 w 392545"/>
                <a:gd name="connsiteY6" fmla="*/ 373135 h 373134"/>
                <a:gd name="connsiteX7" fmla="*/ 62173 w 392545"/>
                <a:gd name="connsiteY7" fmla="*/ 373135 h 373134"/>
                <a:gd name="connsiteX8" fmla="*/ 201992 w 392545"/>
                <a:gd name="connsiteY8" fmla="*/ 373135 h 373134"/>
                <a:gd name="connsiteX9" fmla="*/ 303984 w 392545"/>
                <a:gd name="connsiteY9" fmla="*/ 353961 h 373134"/>
                <a:gd name="connsiteX10" fmla="*/ 369670 w 392545"/>
                <a:gd name="connsiteY10" fmla="*/ 296249 h 373134"/>
                <a:gd name="connsiteX11" fmla="*/ 392546 w 392545"/>
                <a:gd name="connsiteY11" fmla="*/ 199477 h 373134"/>
                <a:gd name="connsiteX12" fmla="*/ 392546 w 392545"/>
                <a:gd name="connsiteY12" fmla="*/ 173611 h 373134"/>
                <a:gd name="connsiteX13" fmla="*/ 369670 w 392545"/>
                <a:gd name="connsiteY13" fmla="*/ 76839 h 373134"/>
                <a:gd name="connsiteX14" fmla="*/ 303984 w 392545"/>
                <a:gd name="connsiteY14" fmla="*/ 19174 h 373134"/>
                <a:gd name="connsiteX15" fmla="*/ 331369 w 392545"/>
                <a:gd name="connsiteY15" fmla="*/ 197531 h 373134"/>
                <a:gd name="connsiteX16" fmla="*/ 299048 w 392545"/>
                <a:gd name="connsiteY16" fmla="*/ 287563 h 373134"/>
                <a:gd name="connsiteX17" fmla="*/ 202514 w 392545"/>
                <a:gd name="connsiteY17" fmla="*/ 316894 h 373134"/>
                <a:gd name="connsiteX18" fmla="*/ 62221 w 392545"/>
                <a:gd name="connsiteY18" fmla="*/ 316894 h 373134"/>
                <a:gd name="connsiteX19" fmla="*/ 62221 w 392545"/>
                <a:gd name="connsiteY19" fmla="*/ 56193 h 373134"/>
                <a:gd name="connsiteX20" fmla="*/ 202514 w 392545"/>
                <a:gd name="connsiteY20" fmla="*/ 56193 h 373134"/>
                <a:gd name="connsiteX21" fmla="*/ 299048 w 392545"/>
                <a:gd name="connsiteY21" fmla="*/ 84812 h 373134"/>
                <a:gd name="connsiteX22" fmla="*/ 331369 w 392545"/>
                <a:gd name="connsiteY22" fmla="*/ 175604 h 373134"/>
                <a:gd name="connsiteX23" fmla="*/ 331369 w 392545"/>
                <a:gd name="connsiteY23" fmla="*/ 197531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2545" h="373134">
                  <a:moveTo>
                    <a:pt x="303984" y="19174"/>
                  </a:moveTo>
                  <a:cubicBezTo>
                    <a:pt x="275461" y="6407"/>
                    <a:pt x="241479" y="0"/>
                    <a:pt x="201992" y="0"/>
                  </a:cubicBezTo>
                  <a:lnTo>
                    <a:pt x="62173" y="0"/>
                  </a:lnTo>
                  <a:lnTo>
                    <a:pt x="27859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27859" y="373135"/>
                  </a:lnTo>
                  <a:lnTo>
                    <a:pt x="62173" y="373135"/>
                  </a:lnTo>
                  <a:lnTo>
                    <a:pt x="201992" y="373135"/>
                  </a:lnTo>
                  <a:cubicBezTo>
                    <a:pt x="241479" y="373135"/>
                    <a:pt x="275461" y="366728"/>
                    <a:pt x="303984" y="353961"/>
                  </a:cubicBezTo>
                  <a:cubicBezTo>
                    <a:pt x="332508" y="341194"/>
                    <a:pt x="354387" y="321972"/>
                    <a:pt x="369670" y="296249"/>
                  </a:cubicBezTo>
                  <a:cubicBezTo>
                    <a:pt x="384904" y="270525"/>
                    <a:pt x="392546" y="238299"/>
                    <a:pt x="392546" y="199477"/>
                  </a:cubicBezTo>
                  <a:lnTo>
                    <a:pt x="392546" y="173611"/>
                  </a:lnTo>
                  <a:cubicBezTo>
                    <a:pt x="392546" y="134788"/>
                    <a:pt x="384904" y="102562"/>
                    <a:pt x="369670" y="76839"/>
                  </a:cubicBezTo>
                  <a:cubicBezTo>
                    <a:pt x="354387" y="51162"/>
                    <a:pt x="332508" y="31941"/>
                    <a:pt x="303984" y="19174"/>
                  </a:cubicBezTo>
                  <a:close/>
                  <a:moveTo>
                    <a:pt x="331369" y="197531"/>
                  </a:moveTo>
                  <a:cubicBezTo>
                    <a:pt x="331369" y="238015"/>
                    <a:pt x="320596" y="268010"/>
                    <a:pt x="299048" y="287563"/>
                  </a:cubicBezTo>
                  <a:cubicBezTo>
                    <a:pt x="277502" y="307117"/>
                    <a:pt x="245323" y="316894"/>
                    <a:pt x="202514" y="316894"/>
                  </a:cubicBezTo>
                  <a:lnTo>
                    <a:pt x="62221" y="316894"/>
                  </a:lnTo>
                  <a:lnTo>
                    <a:pt x="62221" y="56193"/>
                  </a:lnTo>
                  <a:lnTo>
                    <a:pt x="202514" y="56193"/>
                  </a:lnTo>
                  <a:cubicBezTo>
                    <a:pt x="245323" y="56193"/>
                    <a:pt x="277454" y="65733"/>
                    <a:pt x="299048" y="84812"/>
                  </a:cubicBezTo>
                  <a:cubicBezTo>
                    <a:pt x="320596" y="103891"/>
                    <a:pt x="331369" y="134171"/>
                    <a:pt x="331369" y="175604"/>
                  </a:cubicBezTo>
                  <a:lnTo>
                    <a:pt x="331369" y="197531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556553B8-1481-4E85-83A7-689A7C6CC67F}"/>
                </a:ext>
              </a:extLst>
            </p:cNvPr>
            <p:cNvSpPr/>
            <p:nvPr/>
          </p:nvSpPr>
          <p:spPr>
            <a:xfrm>
              <a:off x="8344036" y="4927183"/>
              <a:ext cx="410485" cy="373134"/>
            </a:xfrm>
            <a:custGeom>
              <a:avLst/>
              <a:gdLst>
                <a:gd name="connsiteX0" fmla="*/ 349262 w 410485"/>
                <a:gd name="connsiteY0" fmla="*/ 291598 h 373134"/>
                <a:gd name="connsiteX1" fmla="*/ 60702 w 410485"/>
                <a:gd name="connsiteY1" fmla="*/ 0 h 373134"/>
                <a:gd name="connsiteX2" fmla="*/ 26388 w 410485"/>
                <a:gd name="connsiteY2" fmla="*/ 0 h 373134"/>
                <a:gd name="connsiteX3" fmla="*/ 0 w 410485"/>
                <a:gd name="connsiteY3" fmla="*/ 0 h 373134"/>
                <a:gd name="connsiteX4" fmla="*/ 0 w 410485"/>
                <a:gd name="connsiteY4" fmla="*/ 373135 h 373134"/>
                <a:gd name="connsiteX5" fmla="*/ 60702 w 410485"/>
                <a:gd name="connsiteY5" fmla="*/ 373135 h 373134"/>
                <a:gd name="connsiteX6" fmla="*/ 60702 w 410485"/>
                <a:gd name="connsiteY6" fmla="*/ 81917 h 373134"/>
                <a:gd name="connsiteX7" fmla="*/ 349262 w 410485"/>
                <a:gd name="connsiteY7" fmla="*/ 373135 h 373134"/>
                <a:gd name="connsiteX8" fmla="*/ 410486 w 410485"/>
                <a:gd name="connsiteY8" fmla="*/ 373135 h 373134"/>
                <a:gd name="connsiteX9" fmla="*/ 410486 w 410485"/>
                <a:gd name="connsiteY9" fmla="*/ 0 h 373134"/>
                <a:gd name="connsiteX10" fmla="*/ 349262 w 410485"/>
                <a:gd name="connsiteY10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485" h="373134">
                  <a:moveTo>
                    <a:pt x="349262" y="291598"/>
                  </a:moveTo>
                  <a:lnTo>
                    <a:pt x="60702" y="0"/>
                  </a:lnTo>
                  <a:lnTo>
                    <a:pt x="26388" y="0"/>
                  </a:lnTo>
                  <a:lnTo>
                    <a:pt x="0" y="0"/>
                  </a:lnTo>
                  <a:lnTo>
                    <a:pt x="0" y="373135"/>
                  </a:lnTo>
                  <a:lnTo>
                    <a:pt x="60702" y="373135"/>
                  </a:lnTo>
                  <a:lnTo>
                    <a:pt x="60702" y="81917"/>
                  </a:lnTo>
                  <a:lnTo>
                    <a:pt x="349262" y="373135"/>
                  </a:lnTo>
                  <a:lnTo>
                    <a:pt x="410486" y="373135"/>
                  </a:lnTo>
                  <a:lnTo>
                    <a:pt x="410486" y="0"/>
                  </a:lnTo>
                  <a:lnTo>
                    <a:pt x="349262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2AB55C8-079A-4ACE-9DFB-9EBA23B48B0B}"/>
                </a:ext>
              </a:extLst>
            </p:cNvPr>
            <p:cNvSpPr/>
            <p:nvPr/>
          </p:nvSpPr>
          <p:spPr>
            <a:xfrm>
              <a:off x="8863965" y="4927183"/>
              <a:ext cx="421876" cy="373134"/>
            </a:xfrm>
            <a:custGeom>
              <a:avLst/>
              <a:gdLst>
                <a:gd name="connsiteX0" fmla="*/ 355716 w 421876"/>
                <a:gd name="connsiteY0" fmla="*/ 0 h 373134"/>
                <a:gd name="connsiteX1" fmla="*/ 212955 w 421876"/>
                <a:gd name="connsiteY1" fmla="*/ 291598 h 373134"/>
                <a:gd name="connsiteX2" fmla="*/ 70146 w 421876"/>
                <a:gd name="connsiteY2" fmla="*/ 0 h 373134"/>
                <a:gd name="connsiteX3" fmla="*/ 0 w 421876"/>
                <a:gd name="connsiteY3" fmla="*/ 0 h 373134"/>
                <a:gd name="connsiteX4" fmla="*/ 187042 w 421876"/>
                <a:gd name="connsiteY4" fmla="*/ 373135 h 373134"/>
                <a:gd name="connsiteX5" fmla="*/ 235309 w 421876"/>
                <a:gd name="connsiteY5" fmla="*/ 373135 h 373134"/>
                <a:gd name="connsiteX6" fmla="*/ 421876 w 421876"/>
                <a:gd name="connsiteY6" fmla="*/ 0 h 373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1876" h="373134">
                  <a:moveTo>
                    <a:pt x="355716" y="0"/>
                  </a:moveTo>
                  <a:lnTo>
                    <a:pt x="212955" y="291598"/>
                  </a:lnTo>
                  <a:lnTo>
                    <a:pt x="70146" y="0"/>
                  </a:lnTo>
                  <a:lnTo>
                    <a:pt x="0" y="0"/>
                  </a:lnTo>
                  <a:lnTo>
                    <a:pt x="187042" y="373135"/>
                  </a:lnTo>
                  <a:lnTo>
                    <a:pt x="235309" y="373135"/>
                  </a:lnTo>
                  <a:lnTo>
                    <a:pt x="421876" y="0"/>
                  </a:lnTo>
                  <a:close/>
                </a:path>
              </a:pathLst>
            </a:custGeom>
            <a:solidFill>
              <a:srgbClr val="0F214A"/>
            </a:solidFill>
            <a:ln w="473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0"/>
          <a:lstStyle>
            <a:lvl5pPr>
              <a:defRPr/>
            </a:lvl5pPr>
          </a:lstStyle>
          <a:p>
            <a:pPr lvl="0"/>
            <a:r>
              <a:rPr lang="en-GB"/>
              <a:t>Click to add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07366-CB75-4AA8-9E5B-928B849F427C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_SD_FLD_Copyright">
            <a:extLst>
              <a:ext uri="{FF2B5EF4-FFF2-40B4-BE49-F238E27FC236}">
                <a16:creationId xmlns:a16="http://schemas.microsoft.com/office/drawing/2014/main" id="{3F542136-6583-4929-BA8F-876E7200FCF4}"/>
              </a:ext>
            </a:extLst>
          </p:cNvPr>
          <p:cNvSpPr txBox="1"/>
          <p:nvPr userDrawn="1"/>
        </p:nvSpPr>
        <p:spPr>
          <a:xfrm>
            <a:off x="853200" y="6440400"/>
            <a:ext cx="278923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00" noProof="0">
                <a:solidFill>
                  <a:schemeClr val="accent1"/>
                </a:solidFill>
              </a:rPr>
              <a:t>DNV ©</a:t>
            </a:r>
          </a:p>
        </p:txBody>
      </p:sp>
      <p:sp>
        <p:nvSpPr>
          <p:cNvPr id="18" name="SD_FLD_DocumentDate">
            <a:extLst>
              <a:ext uri="{FF2B5EF4-FFF2-40B4-BE49-F238E27FC236}">
                <a16:creationId xmlns:a16="http://schemas.microsoft.com/office/drawing/2014/main" id="{D4FFA251-3F5C-4E9A-9A80-F62650B4730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6400" y="6440400"/>
            <a:ext cx="1198800" cy="15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/>
          <a:lstStyle/>
          <a:p>
            <a:pPr algn="ctr">
              <a:spcBef>
                <a:spcPts val="0"/>
              </a:spcBef>
            </a:pPr>
            <a:r>
              <a:rPr lang="en-GB" altLang="ja-JP" sz="700" cap="all" baseline="0">
                <a:solidFill>
                  <a:schemeClr val="accent1"/>
                </a:solidFill>
                <a:ea typeface="ＭＳ Ｐゴシック" charset="-128"/>
                <a:cs typeface="Arial" charset="0"/>
              </a:rPr>
              <a:t>25 April 2023</a:t>
            </a:r>
          </a:p>
        </p:txBody>
      </p:sp>
      <p:sp>
        <p:nvSpPr>
          <p:cNvPr id="20" name="SD_FLD_Draft" hidden="1">
            <a:extLst>
              <a:ext uri="{FF2B5EF4-FFF2-40B4-BE49-F238E27FC236}">
                <a16:creationId xmlns:a16="http://schemas.microsoft.com/office/drawing/2014/main" id="{21F368A2-F525-4249-A72B-F904922C972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43513" y="6232324"/>
            <a:ext cx="1700337" cy="208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14400" rIns="0" bIns="0" anchor="t" anchorCtr="0"/>
          <a:lstStyle/>
          <a:p>
            <a:pPr algn="ctr">
              <a:lnSpc>
                <a:spcPct val="83000"/>
              </a:lnSpc>
              <a:spcBef>
                <a:spcPts val="0"/>
              </a:spcBef>
            </a:pPr>
            <a:r>
              <a:rPr lang="en-GB" altLang="ja-JP" sz="1600" b="0" cap="all" baseline="0">
                <a:solidFill>
                  <a:srgbClr val="C4262E"/>
                </a:solidFill>
                <a:ea typeface="ＭＳ Ｐゴシック" charset="-128"/>
                <a:cs typeface="Arial" charset="0"/>
              </a:rPr>
              <a:t>DRAFT</a:t>
            </a:r>
          </a:p>
        </p:txBody>
      </p:sp>
      <p:sp>
        <p:nvSpPr>
          <p:cNvPr id="21" name="SD_FLD_Confidentiality">
            <a:extLst>
              <a:ext uri="{FF2B5EF4-FFF2-40B4-BE49-F238E27FC236}">
                <a16:creationId xmlns:a16="http://schemas.microsoft.com/office/drawing/2014/main" id="{859FDC4D-A513-43EC-AC0B-76C98697BB47}"/>
              </a:ext>
            </a:extLst>
          </p:cNvPr>
          <p:cNvSpPr/>
          <p:nvPr userDrawn="1"/>
        </p:nvSpPr>
        <p:spPr>
          <a:xfrm>
            <a:off x="7131600" y="6440400"/>
            <a:ext cx="2440800" cy="1512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GB" sz="700" b="0" kern="1200" cap="all" baseline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6144481"/>
      </p:ext>
    </p:extLst>
  </p:cSld>
  <p:clrMapOvr>
    <a:masterClrMapping/>
  </p:clrMapOvr>
  <p:transition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320914-BF76-4E59-EA76-E76A44BBAE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6FA621F-F8FC-407F-36EC-CE2B68BF1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t>‹#›</a:t>
            </a:fld>
            <a:endParaRPr lang="da-DK"/>
          </a:p>
        </p:txBody>
      </p:sp>
      <p:sp>
        <p:nvSpPr>
          <p:cNvPr id="3" name="Pladsholder til tekst 4">
            <a:extLst>
              <a:ext uri="{FF2B5EF4-FFF2-40B4-BE49-F238E27FC236}">
                <a16:creationId xmlns:a16="http://schemas.microsoft.com/office/drawing/2014/main" id="{FEF08FA9-97AD-E066-C97C-ABD74D6F58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122045"/>
            <a:ext cx="11160125" cy="384175"/>
          </a:xfrm>
        </p:spPr>
        <p:txBody>
          <a:bodyPr/>
          <a:lstStyle>
            <a:lvl1pPr>
              <a:defRPr sz="2000" b="0" i="0" cap="all" baseline="0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</a:t>
            </a:r>
          </a:p>
        </p:txBody>
      </p:sp>
    </p:spTree>
    <p:extLst>
      <p:ext uri="{BB962C8B-B14F-4D97-AF65-F5344CB8AC3E}">
        <p14:creationId xmlns:p14="http://schemas.microsoft.com/office/powerpoint/2010/main" val="3396529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24A745AC-2BEA-2FB5-B56F-F4C64709A71F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3357563"/>
            <a:ext cx="12192000" cy="3500437"/>
          </a:xfrm>
          <a:solidFill>
            <a:schemeClr val="bg2"/>
          </a:solidFill>
        </p:spPr>
        <p:txBody>
          <a:bodyPr tIns="684000" anchor="ctr" anchorCtr="1"/>
          <a:lstStyle>
            <a:lvl1pPr>
              <a:defRPr b="0" i="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320914-BF76-4E59-EA76-E76A44BBAE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slidenummer 4">
            <a:extLst>
              <a:ext uri="{FF2B5EF4-FFF2-40B4-BE49-F238E27FC236}">
                <a16:creationId xmlns:a16="http://schemas.microsoft.com/office/drawing/2014/main" id="{1805C3DA-FB30-3CB2-AAAF-B3A0414E2D80}"/>
              </a:ext>
            </a:extLst>
          </p:cNvPr>
          <p:cNvSpPr txBox="1">
            <a:spLocks/>
          </p:cNvSpPr>
          <p:nvPr userDrawn="1"/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GT Walsheim Pro Ligh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BC3415-6A21-2E49-A058-D443F991EEAB}" type="slidenum">
              <a:rPr lang="da-DK" smtClean="0">
                <a:latin typeface="GT Walsheim Pro" panose="00000500000000000000" pitchFamily="50" charset="0"/>
              </a:rPr>
              <a:pPr/>
              <a:t>‹#›</a:t>
            </a:fld>
            <a:endParaRPr lang="da-DK">
              <a:latin typeface="GT Walsheim Pro" panose="00000500000000000000" pitchFamily="50" charset="0"/>
            </a:endParaRPr>
          </a:p>
        </p:txBody>
      </p:sp>
      <p:sp>
        <p:nvSpPr>
          <p:cNvPr id="6" name="Pladsholder til indhold 6">
            <a:extLst>
              <a:ext uri="{FF2B5EF4-FFF2-40B4-BE49-F238E27FC236}">
                <a16:creationId xmlns:a16="http://schemas.microsoft.com/office/drawing/2014/main" id="{F520E249-E551-2211-DEB5-08A56958E64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159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8C236FEF-CDAE-170A-E385-998A41D9C8E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77018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41E94D16-2920-1480-B842-D6E49514B97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0244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9" name="Pladsholder til indhold 6">
            <a:extLst>
              <a:ext uri="{FF2B5EF4-FFF2-40B4-BE49-F238E27FC236}">
                <a16:creationId xmlns:a16="http://schemas.microsoft.com/office/drawing/2014/main" id="{E2C8F437-1324-DB2D-99AE-0CAAA9F59CE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27868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10" name="Pladsholder til indhold 6">
            <a:extLst>
              <a:ext uri="{FF2B5EF4-FFF2-40B4-BE49-F238E27FC236}">
                <a16:creationId xmlns:a16="http://schemas.microsoft.com/office/drawing/2014/main" id="{426B4731-5D4E-0A5D-7106-D71B4A7FB52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5329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pic>
        <p:nvPicPr>
          <p:cNvPr id="11" name="Picture 20">
            <a:extLst>
              <a:ext uri="{FF2B5EF4-FFF2-40B4-BE49-F238E27FC236}">
                <a16:creationId xmlns:a16="http://schemas.microsoft.com/office/drawing/2014/main" id="{35F2F373-99F1-B67D-469C-72BDE2BC30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53D17F-DEB9-DDA2-91AA-0401C6AF9A4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122045"/>
            <a:ext cx="11160125" cy="384175"/>
          </a:xfrm>
        </p:spPr>
        <p:txBody>
          <a:bodyPr/>
          <a:lstStyle>
            <a:lvl1pPr>
              <a:defRPr sz="2000" b="0" i="0" cap="all" baseline="0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</a:t>
            </a:r>
          </a:p>
        </p:txBody>
      </p:sp>
    </p:spTree>
    <p:extLst>
      <p:ext uri="{BB962C8B-B14F-4D97-AF65-F5344CB8AC3E}">
        <p14:creationId xmlns:p14="http://schemas.microsoft.com/office/powerpoint/2010/main" val="1726193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0"/>
            <a:ext cx="12192000" cy="1330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5BEF7C2-4D16-5F9E-DAB9-03BD494D2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190160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0"/>
            <a:ext cx="12192000" cy="1330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5BEF7C2-4D16-5F9E-DAB9-03BD494D2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2311519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83C6E6-4DF6-3EAF-7AC9-34E6D0AC9D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7895A1-F3A2-42B6-BCA5-C0BBC0B499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1A47C8-DC58-CCE1-9563-39226B11F8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4DC746-556F-4D84-987F-C441F897276C}" type="datetimeFigureOut">
              <a:rPr lang="en-GB" smtClean="0"/>
              <a:t>19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BA425D-724F-2F82-F868-5721F5EA46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CBC570-7864-8A71-7C29-9C0080BDE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A36987-AF1A-4AC2-A74C-DFE63B1C1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29915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E2626-8913-5CDC-D904-F03EA74E8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5ECC38-5E59-6ADD-D241-A3994BB04C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57BD25-9439-3518-FB46-89EB67362A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4DC746-556F-4D84-987F-C441F897276C}" type="datetimeFigureOut">
              <a:rPr lang="en-GB" smtClean="0"/>
              <a:t>19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5C0632-8EB3-7E96-48F1-65EE883388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40BB76-F8C4-E731-5AC5-D00690AE9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A36987-AF1A-4AC2-A74C-DFE63B1C1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84391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6CA08-C853-DBE6-2A78-11F2860F38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7322C2-4ECD-5DBA-8509-8DEE5FBAB5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E3BF6A-CE52-BD64-5521-7734F4F136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4DC746-556F-4D84-987F-C441F897276C}" type="datetimeFigureOut">
              <a:rPr lang="en-GB" smtClean="0"/>
              <a:t>19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F7FC84-93D4-AAEB-EE80-4F18A79E04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D812C7-4ED4-6634-823A-D01D21089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A36987-AF1A-4AC2-A74C-DFE63B1C1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7495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el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4E764CBE-A6B9-A945-6A3E-F9D71A80F56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DARK </a:t>
            </a:r>
            <a:r>
              <a:rPr lang="da-DK" err="1"/>
              <a:t>background</a:t>
            </a:r>
            <a:r>
              <a:rPr lang="da-DK"/>
              <a:t> </a:t>
            </a:r>
            <a:r>
              <a:rPr lang="da-DK" err="1"/>
              <a:t>picture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316468"/>
            <a:ext cx="11197703" cy="1230337"/>
          </a:xfrm>
        </p:spPr>
        <p:txBody>
          <a:bodyPr anchor="b"/>
          <a:lstStyle>
            <a:lvl1pPr algn="l">
              <a:lnSpc>
                <a:spcPts val="9000"/>
              </a:lnSpc>
              <a:defRPr sz="12000">
                <a:solidFill>
                  <a:schemeClr val="bg2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79F4468-C1FF-64B0-EF4F-D5E6B4F738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510547"/>
            <a:ext cx="7776292" cy="1071880"/>
          </a:xfrm>
        </p:spPr>
        <p:txBody>
          <a:bodyPr/>
          <a:lstStyle>
            <a:lvl1pPr marL="0" indent="0" algn="l">
              <a:buNone/>
              <a:defRPr sz="1800" b="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title</a:t>
            </a:r>
            <a:r>
              <a:rPr lang="da-DK"/>
              <a:t> or date</a:t>
            </a:r>
          </a:p>
        </p:txBody>
      </p:sp>
      <p:sp>
        <p:nvSpPr>
          <p:cNvPr id="7" name="Logo Placeholder 9">
            <a:extLst>
              <a:ext uri="{FF2B5EF4-FFF2-40B4-BE49-F238E27FC236}">
                <a16:creationId xmlns:a16="http://schemas.microsoft.com/office/drawing/2014/main" id="{76B89C13-DE2E-EE02-3A19-0081F79616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1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2508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172213-2815-9A43-29FC-5AF4DF2D9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76B775-9A7E-0BDD-E06F-45E50842B4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51921B-E112-0AB0-1C17-89DDAFBA73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922526-8C13-4C2B-9DEC-D4DB11952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4DC746-556F-4D84-987F-C441F897276C}" type="datetimeFigureOut">
              <a:rPr lang="en-GB" smtClean="0"/>
              <a:t>19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1FCFCA-5144-128A-0A10-45912BCED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580F32-8076-F670-82FD-A1F5309F0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A36987-AF1A-4AC2-A74C-DFE63B1C1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5043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25D1F1-EB1A-8A17-9901-88494CD2C2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7E46F8-FEED-A0BE-7EE9-7A10075800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0B8F0C-9528-708F-E39B-82B9D91E24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568663-7C0A-1771-EA43-9BA03A7EA4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BA3193-EEA0-4C1C-B342-6B001615CA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12CE266-2062-DB27-29B8-6C3A6694EC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4DC746-556F-4D84-987F-C441F897276C}" type="datetimeFigureOut">
              <a:rPr lang="en-GB" smtClean="0"/>
              <a:t>19/06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63E7B3-FC9D-C84D-2474-AFAC9D170F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A40648-C0DB-D590-18C1-CE8BC09497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A36987-AF1A-4AC2-A74C-DFE63B1C1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22553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6CFA6C-1E19-0BB9-3FF2-AD2ABC69E0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99D150-2505-E583-35D4-E645FE9E40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4DC746-556F-4D84-987F-C441F897276C}" type="datetimeFigureOut">
              <a:rPr lang="en-GB" smtClean="0"/>
              <a:t>19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BDD88A-E61C-FC08-65CF-099D29D421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7F77FE-B6F7-85BD-8604-848F890F0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A36987-AF1A-4AC2-A74C-DFE63B1C1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78474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17CE2C-A4D6-C21F-7DDD-C176E0ED6E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4DC746-556F-4D84-987F-C441F897276C}" type="datetimeFigureOut">
              <a:rPr lang="en-GB" smtClean="0"/>
              <a:t>19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278C62-1B9C-6640-3522-3443128894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CBAD16-C697-435C-3610-7F9DBAB80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A36987-AF1A-4AC2-A74C-DFE63B1C1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69946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A63422-1B7C-2C9F-638F-25B2722FB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451E39-7416-259F-2A53-13AAD1B2C1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0ADF3E-163E-F25A-4E30-EB9EC6C8B9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DDBC37-93E2-345A-EB52-0CCC9DEDD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4DC746-556F-4D84-987F-C441F897276C}" type="datetimeFigureOut">
              <a:rPr lang="en-GB" smtClean="0"/>
              <a:t>19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09CB8E-D6F1-26F2-FEAC-DF8F765AF9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2823F2-54DA-786A-DDB7-DA213FD4F7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A36987-AF1A-4AC2-A74C-DFE63B1C1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42833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CE5046-1B8C-617B-5D38-348121A62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031C50F-C44F-0D1D-A624-2CBEE8B089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EB292A-1A7F-0B58-0343-4357556566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E03202-36E0-6C49-F9D2-D26B1579B9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4DC746-556F-4D84-987F-C441F897276C}" type="datetimeFigureOut">
              <a:rPr lang="en-GB" smtClean="0"/>
              <a:t>19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46E505-7C91-411E-FB0C-E4342F8604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6B2128-7439-896D-5942-ABF7459229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A36987-AF1A-4AC2-A74C-DFE63B1C1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17438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D0BD9F-8363-D288-0206-FEC5084FB0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00945DB-1911-FDAB-FB34-FE6F1D70488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79121C-7A79-B668-9232-E8E5553009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4DC746-556F-4D84-987F-C441F897276C}" type="datetimeFigureOut">
              <a:rPr lang="en-GB" smtClean="0"/>
              <a:t>19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A220DF-0E86-864C-4820-A8348AAB52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60EBE7-786A-E64E-BF12-4BE597821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A36987-AF1A-4AC2-A74C-DFE63B1C1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244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A01600E-C170-840D-731F-507F7A9186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3FC803D-486B-88CD-0223-115276BD78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104733-4F33-EC73-31D3-8C09895FA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4DC746-556F-4D84-987F-C441F897276C}" type="datetimeFigureOut">
              <a:rPr lang="en-GB" smtClean="0"/>
              <a:t>19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E716E1-29F4-6D38-005A-37299386FF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795E18-2912-076D-E1AE-9D793FBBB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A36987-AF1A-4AC2-A74C-DFE63B1C1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78257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billede 5">
            <a:extLst>
              <a:ext uri="{FF2B5EF4-FFF2-40B4-BE49-F238E27FC236}">
                <a16:creationId xmlns:a16="http://schemas.microsoft.com/office/drawing/2014/main" id="{3CE9675E-2253-8A3D-7E2F-1EA744EE4C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>
            <a:lvl1pPr>
              <a:defRPr sz="1000" b="0" i="1"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LIGHT </a:t>
            </a:r>
            <a:r>
              <a:rPr lang="da-DK" err="1"/>
              <a:t>background</a:t>
            </a:r>
            <a:r>
              <a:rPr lang="da-DK"/>
              <a:t> </a:t>
            </a:r>
            <a:r>
              <a:rPr lang="da-DK" err="1"/>
              <a:t>picture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110514"/>
            <a:ext cx="11197703" cy="1436291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ts val="5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aseline="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79F4468-C1FF-64B0-EF4F-D5E6B4F738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648632"/>
            <a:ext cx="7776292" cy="444194"/>
          </a:xfrm>
        </p:spPr>
        <p:txBody>
          <a:bodyPr/>
          <a:lstStyle>
            <a:lvl1pPr marL="0" indent="0" algn="l">
              <a:buNone/>
              <a:defRPr sz="1400" b="0" i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title</a:t>
            </a:r>
            <a:r>
              <a:rPr lang="da-DK"/>
              <a:t> or date</a:t>
            </a:r>
          </a:p>
        </p:txBody>
      </p:sp>
      <p:sp>
        <p:nvSpPr>
          <p:cNvPr id="4" name="Logo Placeholder 9">
            <a:extLst>
              <a:ext uri="{FF2B5EF4-FFF2-40B4-BE49-F238E27FC236}">
                <a16:creationId xmlns:a16="http://schemas.microsoft.com/office/drawing/2014/main" id="{F158071A-D44A-20E1-CF4E-1E9FD6C17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1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06764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4E764CBE-A6B9-A945-6A3E-F9D71A80F56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DARK </a:t>
            </a:r>
            <a:r>
              <a:rPr lang="da-DK" err="1"/>
              <a:t>background</a:t>
            </a:r>
            <a:r>
              <a:rPr lang="da-DK"/>
              <a:t> </a:t>
            </a:r>
            <a:r>
              <a:rPr lang="da-DK" err="1"/>
              <a:t>picture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059218"/>
            <a:ext cx="11197703" cy="1487587"/>
          </a:xfrm>
        </p:spPr>
        <p:txBody>
          <a:bodyPr anchor="b"/>
          <a:lstStyle>
            <a:lvl1pPr algn="l">
              <a:lnSpc>
                <a:spcPts val="5600"/>
              </a:lnSpc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7" name="Logo Placeholder 9">
            <a:extLst>
              <a:ext uri="{FF2B5EF4-FFF2-40B4-BE49-F238E27FC236}">
                <a16:creationId xmlns:a16="http://schemas.microsoft.com/office/drawing/2014/main" id="{76B89C13-DE2E-EE02-3A19-0081F79616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1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" name="Undertitel 2">
            <a:extLst>
              <a:ext uri="{FF2B5EF4-FFF2-40B4-BE49-F238E27FC236}">
                <a16:creationId xmlns:a16="http://schemas.microsoft.com/office/drawing/2014/main" id="{59C46F6D-F34F-A91C-CF04-07D898A9A1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648632"/>
            <a:ext cx="7776292" cy="444194"/>
          </a:xfrm>
        </p:spPr>
        <p:txBody>
          <a:bodyPr/>
          <a:lstStyle>
            <a:lvl1pPr marL="0" indent="0" algn="l">
              <a:buNone/>
              <a:defRPr sz="1400" b="0" i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title</a:t>
            </a:r>
            <a:r>
              <a:rPr lang="da-DK"/>
              <a:t> or date</a:t>
            </a:r>
          </a:p>
        </p:txBody>
      </p:sp>
    </p:spTree>
    <p:extLst>
      <p:ext uri="{BB962C8B-B14F-4D97-AF65-F5344CB8AC3E}">
        <p14:creationId xmlns:p14="http://schemas.microsoft.com/office/powerpoint/2010/main" val="3910765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og indholdsobjek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">
            <a:extLst>
              <a:ext uri="{FF2B5EF4-FFF2-40B4-BE49-F238E27FC236}">
                <a16:creationId xmlns:a16="http://schemas.microsoft.com/office/drawing/2014/main" id="{D17F83DC-ACEC-4D00-6DB7-3D386835EC7F}"/>
              </a:ext>
            </a:extLst>
          </p:cNvPr>
          <p:cNvSpPr/>
          <p:nvPr userDrawn="1"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noProof="0">
              <a:solidFill>
                <a:schemeClr val="bg1"/>
              </a:solidFill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16488"/>
            <a:ext cx="3319792" cy="1190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48267" y="597853"/>
            <a:ext cx="6827796" cy="5494972"/>
          </a:xfrm>
        </p:spPr>
        <p:txBody>
          <a:bodyPr/>
          <a:lstStyle>
            <a:lvl1pPr>
              <a:spcBef>
                <a:spcPts val="2200"/>
              </a:spcBef>
              <a:defRPr sz="2000" b="0" i="0">
                <a:solidFill>
                  <a:schemeClr val="accent2"/>
                </a:solidFill>
                <a:latin typeface="GT Walsheim Pro Bold" pitchFamily="2" charset="77"/>
              </a:defRPr>
            </a:lvl1pPr>
            <a:lvl2pPr marL="936625" indent="-927100">
              <a:tabLst/>
              <a:defRPr sz="1400" b="0" i="0" cap="none" baseline="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1"/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F49CE98-5C0F-6A0E-A834-D3EF471185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441198"/>
            <a:ext cx="525018" cy="52501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6F5DF65-2BC0-5840-917D-D0D510C4BF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1251200"/>
            <a:ext cx="525018" cy="52501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B7E3642-841F-9DFE-9ABC-FF23384B0F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2061202"/>
            <a:ext cx="525018" cy="525018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AA6F554-3A96-ABD7-B97D-841A1603D1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2871204"/>
            <a:ext cx="525018" cy="52501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D7DCDA9-9CE2-76DB-7D21-1FADAD6BF5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3681206"/>
            <a:ext cx="525018" cy="52501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3E9F417-1914-6936-820E-AC8C357033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4491208"/>
            <a:ext cx="525018" cy="52501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F7D10C6-48F9-6F1E-E6D3-9F3C266AC8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5301208"/>
            <a:ext cx="525018" cy="525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08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og indholdsobjek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">
            <a:extLst>
              <a:ext uri="{FF2B5EF4-FFF2-40B4-BE49-F238E27FC236}">
                <a16:creationId xmlns:a16="http://schemas.microsoft.com/office/drawing/2014/main" id="{D17F83DC-ACEC-4D00-6DB7-3D386835EC7F}"/>
              </a:ext>
            </a:extLst>
          </p:cNvPr>
          <p:cNvSpPr/>
          <p:nvPr userDrawn="1"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0" noProof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452912"/>
            <a:ext cx="3319792" cy="1190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48267" y="544063"/>
            <a:ext cx="6827796" cy="5494972"/>
          </a:xfrm>
        </p:spPr>
        <p:txBody>
          <a:bodyPr/>
          <a:lstStyle>
            <a:lvl1pPr>
              <a:spcBef>
                <a:spcPts val="2200"/>
              </a:spcBef>
              <a:defRPr sz="2000" b="1" i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936625" indent="-927100">
              <a:tabLst/>
              <a:defRPr sz="1400" b="0" i="0" cap="none" baseline="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1"/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6F0F0BDF-BEE2-1699-FD3E-530882D90D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155328" y="416498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ladsholder til indhold 4">
            <a:extLst>
              <a:ext uri="{FF2B5EF4-FFF2-40B4-BE49-F238E27FC236}">
                <a16:creationId xmlns:a16="http://schemas.microsoft.com/office/drawing/2014/main" id="{D1E97D3D-E3A9-38CA-71EC-F0BC8CE5388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155328" y="1226134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ladsholder til indhold 4">
            <a:extLst>
              <a:ext uri="{FF2B5EF4-FFF2-40B4-BE49-F238E27FC236}">
                <a16:creationId xmlns:a16="http://schemas.microsoft.com/office/drawing/2014/main" id="{3D34BDAD-16A9-A94A-C4A9-3916CA1A8EE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55328" y="2035770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ladsholder til indhold 4">
            <a:extLst>
              <a:ext uri="{FF2B5EF4-FFF2-40B4-BE49-F238E27FC236}">
                <a16:creationId xmlns:a16="http://schemas.microsoft.com/office/drawing/2014/main" id="{EEC7686E-0A5A-431B-2817-4810F65C398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55328" y="2845406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ladsholder til indhold 4">
            <a:extLst>
              <a:ext uri="{FF2B5EF4-FFF2-40B4-BE49-F238E27FC236}">
                <a16:creationId xmlns:a16="http://schemas.microsoft.com/office/drawing/2014/main" id="{062FF6CE-1384-5A75-7EBC-9B3ADF1F4A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55328" y="3655042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ladsholder til indhold 4">
            <a:extLst>
              <a:ext uri="{FF2B5EF4-FFF2-40B4-BE49-F238E27FC236}">
                <a16:creationId xmlns:a16="http://schemas.microsoft.com/office/drawing/2014/main" id="{5DE38226-7B0C-8B45-15E9-12DF80D7F71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155328" y="4464678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ladsholder til indhold 4">
            <a:extLst>
              <a:ext uri="{FF2B5EF4-FFF2-40B4-BE49-F238E27FC236}">
                <a16:creationId xmlns:a16="http://schemas.microsoft.com/office/drawing/2014/main" id="{BC9D7658-1382-A017-F44E-577ED3F51C4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155328" y="5274313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2290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 og indholdsobjek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999" y="452912"/>
            <a:ext cx="11172063" cy="6412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515939" y="1700213"/>
            <a:ext cx="11160126" cy="4392613"/>
          </a:xfrm>
        </p:spPr>
        <p:txBody>
          <a:bodyPr numCol="2"/>
          <a:lstStyle>
            <a:lvl1pPr>
              <a:spcBef>
                <a:spcPts val="1600"/>
              </a:spcBef>
              <a:defRPr sz="2000" b="1" i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936625" indent="0">
              <a:tabLst/>
              <a:defRPr sz="1400" b="0" i="0" cap="none" baseline="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08.00	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10.15	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5385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452912"/>
            <a:ext cx="11160125" cy="417182"/>
          </a:xfrm>
        </p:spPr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2ACA9BA9-37BB-E578-789F-EFDEEB8344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2029693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DF1E1D36-AF82-D3D7-2A46-DA13A0F26E2E}"/>
              </a:ext>
            </a:extLst>
          </p:cNvPr>
          <p:cNvSpPr/>
          <p:nvPr/>
        </p:nvSpPr>
        <p:spPr>
          <a:xfrm>
            <a:off x="0" y="0"/>
            <a:ext cx="287382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523423"/>
            <a:ext cx="2084759" cy="2508000"/>
          </a:xfrm>
        </p:spPr>
        <p:txBody>
          <a:bodyPr/>
          <a:lstStyle>
            <a:lvl1pPr>
              <a:lnSpc>
                <a:spcPts val="3200"/>
              </a:lnSpc>
              <a:defRPr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3313216" y="584200"/>
            <a:ext cx="8362846" cy="5492555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2179637" cy="2636837"/>
          </a:xfrm>
        </p:spPr>
        <p:txBody>
          <a:bodyPr anchor="b" anchorCtr="0"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83244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DF1E1D36-AF82-D3D7-2A46-DA13A0F26E2E}"/>
              </a:ext>
            </a:extLst>
          </p:cNvPr>
          <p:cNvSpPr/>
          <p:nvPr/>
        </p:nvSpPr>
        <p:spPr>
          <a:xfrm>
            <a:off x="0" y="0"/>
            <a:ext cx="287382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514955"/>
            <a:ext cx="2084759" cy="2664883"/>
          </a:xfrm>
        </p:spPr>
        <p:txBody>
          <a:bodyPr/>
          <a:lstStyle>
            <a:lvl1pPr>
              <a:lnSpc>
                <a:spcPts val="32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3313216" y="584200"/>
            <a:ext cx="8362846" cy="5492555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2179637" cy="2636837"/>
          </a:xfrm>
        </p:spPr>
        <p:txBody>
          <a:bodyPr anchor="b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792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9764CE5A-FEFC-FD55-E2F0-E4E53181C8A7}"/>
              </a:ext>
            </a:extLst>
          </p:cNvPr>
          <p:cNvSpPr/>
          <p:nvPr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0" noProof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514956"/>
            <a:ext cx="3366515" cy="2364562"/>
          </a:xfrm>
        </p:spPr>
        <p:txBody>
          <a:bodyPr/>
          <a:lstStyle>
            <a:lvl1pPr>
              <a:lnSpc>
                <a:spcPts val="32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287520" y="0"/>
            <a:ext cx="7898903" cy="6858000"/>
          </a:xfrm>
          <a:ln>
            <a:noFill/>
          </a:ln>
        </p:spPr>
        <p:txBody>
          <a:bodyPr bIns="1440000" anchor="ctr" anchorCtr="0"/>
          <a:lstStyle>
            <a:lvl1pPr algn="ctr">
              <a:defRPr sz="1000" b="0" i="1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3396495" cy="2636837"/>
          </a:xfrm>
        </p:spPr>
        <p:txBody>
          <a:bodyPr anchor="b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22115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44E3B931-B4F4-7765-DE97-E06544D9122A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0" y="0"/>
            <a:ext cx="4291013" cy="6858000"/>
          </a:xfrm>
        </p:spPr>
        <p:txBody>
          <a:bodyPr bIns="972000" anchor="ctr" anchorCtr="1"/>
          <a:lstStyle>
            <a:lvl1pPr>
              <a:defRPr sz="1000" b="0" i="1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764CE5A-FEFC-FD55-E2F0-E4E53181C8A7}"/>
              </a:ext>
            </a:extLst>
          </p:cNvPr>
          <p:cNvSpPr/>
          <p:nvPr/>
        </p:nvSpPr>
        <p:spPr>
          <a:xfrm>
            <a:off x="4296427" y="0"/>
            <a:ext cx="7895574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0" noProof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189" y="467000"/>
            <a:ext cx="6880622" cy="499906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29908" y="1700213"/>
            <a:ext cx="6846155" cy="4392612"/>
          </a:xfrm>
          <a:ln>
            <a:noFill/>
          </a:ln>
        </p:spPr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9" name="Billede 4">
            <a:extLst>
              <a:ext uri="{FF2B5EF4-FFF2-40B4-BE49-F238E27FC236}">
                <a16:creationId xmlns:a16="http://schemas.microsoft.com/office/drawing/2014/main" id="{E3B9C3F1-C979-5D87-0291-874DFFD069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11B559B2-D24A-8A87-C32E-0806FA38A1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5082" y="1034957"/>
            <a:ext cx="6870981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1059618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44E3B931-B4F4-7765-DE97-E06544D9122A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0" y="0"/>
            <a:ext cx="4291013" cy="6858000"/>
          </a:xfrm>
          <a:solidFill>
            <a:schemeClr val="bg2"/>
          </a:solidFill>
        </p:spPr>
        <p:txBody>
          <a:bodyPr bIns="972000" anchor="ctr" anchorCtr="1"/>
          <a:lstStyle>
            <a:lvl1pPr>
              <a:defRPr sz="1000" b="0" i="1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189" y="467000"/>
            <a:ext cx="6880622" cy="530594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29908" y="1700213"/>
            <a:ext cx="6846155" cy="4392612"/>
          </a:xfrm>
          <a:ln>
            <a:noFill/>
          </a:ln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1AA8F475-C973-5DAC-12ED-EC2300E432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5082" y="1034957"/>
            <a:ext cx="6870981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38895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0"/>
            <a:ext cx="12192000" cy="1330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5BEF7C2-4D16-5F9E-DAB9-03BD494D2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6734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-1"/>
            <a:ext cx="12192000" cy="151108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4">
            <a:extLst>
              <a:ext uri="{FF2B5EF4-FFF2-40B4-BE49-F238E27FC236}">
                <a16:creationId xmlns:a16="http://schemas.microsoft.com/office/drawing/2014/main" id="{92032E86-710B-ED8B-E9C5-81FA1D6F0C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3348335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 og indholdsobjek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28363"/>
            <a:ext cx="3319792" cy="6412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515939" y="1700213"/>
            <a:ext cx="11160126" cy="4392613"/>
          </a:xfrm>
        </p:spPr>
        <p:txBody>
          <a:bodyPr numCol="2"/>
          <a:lstStyle>
            <a:lvl1pPr>
              <a:spcBef>
                <a:spcPts val="1600"/>
              </a:spcBef>
              <a:defRPr sz="2000" b="0" i="0">
                <a:solidFill>
                  <a:schemeClr val="tx1"/>
                </a:solidFill>
                <a:latin typeface="GT Walsheim Pro Bold" pitchFamily="2" charset="77"/>
              </a:defRPr>
            </a:lvl1pPr>
            <a:lvl2pPr marL="936625" indent="0">
              <a:tabLst/>
              <a:defRPr sz="1400" b="0" i="0" cap="none" baseline="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08.00	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10.15	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94368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og indholdsobjek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00F0E8E2-F8DC-2271-A863-DF672E5C22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pic>
        <p:nvPicPr>
          <p:cNvPr id="4" name="Billede 4">
            <a:extLst>
              <a:ext uri="{FF2B5EF4-FFF2-40B4-BE49-F238E27FC236}">
                <a16:creationId xmlns:a16="http://schemas.microsoft.com/office/drawing/2014/main" id="{90B1529D-6E22-99F6-9369-FE47FAC0B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5ED60A69-247D-558D-5A0A-83B37D7444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3796495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 og indholdsobjekt">
    <p:bg>
      <p:bgPr>
        <a:gradFill flip="none" rotWithShape="1">
          <a:gsLst>
            <a:gs pos="0">
              <a:schemeClr val="tx1"/>
            </a:gs>
            <a:gs pos="50000">
              <a:schemeClr val="tx1">
                <a:lumMod val="94000"/>
                <a:lumOff val="6000"/>
              </a:schemeClr>
            </a:gs>
            <a:gs pos="100000">
              <a:schemeClr val="accent2">
                <a:lumMod val="68000"/>
              </a:schemeClr>
            </a:gs>
          </a:gsLst>
          <a:lin ang="4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00F0E8E2-F8DC-2271-A863-DF672E5C22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pic>
        <p:nvPicPr>
          <p:cNvPr id="4" name="Billede 4">
            <a:extLst>
              <a:ext uri="{FF2B5EF4-FFF2-40B4-BE49-F238E27FC236}">
                <a16:creationId xmlns:a16="http://schemas.microsoft.com/office/drawing/2014/main" id="{EB0D3D71-B848-47CB-86AC-C0AB445C8E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1F58D6B-3418-B013-6A33-D7E2DA6A4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314292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320914-BF76-4E59-EA76-E76A44BBAE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6FA621F-F8FC-407F-36EC-CE2B68BF1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t>‹#›</a:t>
            </a:fld>
            <a:endParaRPr lang="da-DK"/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E04DEFA2-2B7C-1270-E053-054BEF1DB6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307281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24A745AC-2BEA-2FB5-B56F-F4C64709A71F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3357563"/>
            <a:ext cx="12192000" cy="3500437"/>
          </a:xfrm>
          <a:solidFill>
            <a:schemeClr val="bg2"/>
          </a:solidFill>
        </p:spPr>
        <p:txBody>
          <a:bodyPr tIns="684000" anchor="ctr" anchorCtr="1"/>
          <a:lstStyle>
            <a:lvl1pPr>
              <a:defRPr sz="1000" b="0" i="1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320914-BF76-4E59-EA76-E76A44BBAE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slidenummer 4">
            <a:extLst>
              <a:ext uri="{FF2B5EF4-FFF2-40B4-BE49-F238E27FC236}">
                <a16:creationId xmlns:a16="http://schemas.microsoft.com/office/drawing/2014/main" id="{1805C3DA-FB30-3CB2-AAAF-B3A0414E2D80}"/>
              </a:ext>
            </a:extLst>
          </p:cNvPr>
          <p:cNvSpPr txBox="1">
            <a:spLocks/>
          </p:cNvSpPr>
          <p:nvPr userDrawn="1"/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GT Walsheim Pro Ligh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BC3415-6A21-2E49-A058-D443F991EEAB}" type="slidenum">
              <a:rPr lang="da-DK" b="0" i="0" smtClean="0">
                <a:latin typeface="Arial" panose="020B0604020202020204" pitchFamily="34" charset="0"/>
              </a:rPr>
              <a:pPr/>
              <a:t>‹#›</a:t>
            </a:fld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6" name="Pladsholder til indhold 6">
            <a:extLst>
              <a:ext uri="{FF2B5EF4-FFF2-40B4-BE49-F238E27FC236}">
                <a16:creationId xmlns:a16="http://schemas.microsoft.com/office/drawing/2014/main" id="{F520E249-E551-2211-DEB5-08A56958E64E}"/>
              </a:ext>
            </a:extLst>
          </p:cNvPr>
          <p:cNvSpPr>
            <a:spLocks noGrp="1" noChangeAspect="1"/>
          </p:cNvSpPr>
          <p:nvPr>
            <p:ph sz="quarter" idx="14" hasCustomPrompt="1"/>
          </p:nvPr>
        </p:nvSpPr>
        <p:spPr>
          <a:xfrm>
            <a:off x="5159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8C236FEF-CDAE-170A-E385-998A41D9C8E7}"/>
              </a:ext>
            </a:extLst>
          </p:cNvPr>
          <p:cNvSpPr>
            <a:spLocks noGrp="1" noChangeAspect="1"/>
          </p:cNvSpPr>
          <p:nvPr>
            <p:ph sz="quarter" idx="15" hasCustomPrompt="1"/>
          </p:nvPr>
        </p:nvSpPr>
        <p:spPr>
          <a:xfrm>
            <a:off x="277018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41E94D16-2920-1480-B842-D6E49514B97E}"/>
              </a:ext>
            </a:extLst>
          </p:cNvPr>
          <p:cNvSpPr>
            <a:spLocks noGrp="1" noChangeAspect="1"/>
          </p:cNvSpPr>
          <p:nvPr>
            <p:ph sz="quarter" idx="16" hasCustomPrompt="1"/>
          </p:nvPr>
        </p:nvSpPr>
        <p:spPr>
          <a:xfrm>
            <a:off x="50244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9" name="Pladsholder til indhold 6">
            <a:extLst>
              <a:ext uri="{FF2B5EF4-FFF2-40B4-BE49-F238E27FC236}">
                <a16:creationId xmlns:a16="http://schemas.microsoft.com/office/drawing/2014/main" id="{E2C8F437-1324-DB2D-99AE-0CAAA9F59CE3}"/>
              </a:ext>
            </a:extLst>
          </p:cNvPr>
          <p:cNvSpPr>
            <a:spLocks noGrp="1" noChangeAspect="1"/>
          </p:cNvSpPr>
          <p:nvPr>
            <p:ph sz="quarter" idx="17" hasCustomPrompt="1"/>
          </p:nvPr>
        </p:nvSpPr>
        <p:spPr>
          <a:xfrm>
            <a:off x="727868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10" name="Pladsholder til indhold 6">
            <a:extLst>
              <a:ext uri="{FF2B5EF4-FFF2-40B4-BE49-F238E27FC236}">
                <a16:creationId xmlns:a16="http://schemas.microsoft.com/office/drawing/2014/main" id="{426B4731-5D4E-0A5D-7106-D71B4A7FB52F}"/>
              </a:ext>
            </a:extLst>
          </p:cNvPr>
          <p:cNvSpPr>
            <a:spLocks noGrp="1" noChangeAspect="1"/>
          </p:cNvSpPr>
          <p:nvPr>
            <p:ph sz="quarter" idx="18" hasCustomPrompt="1"/>
          </p:nvPr>
        </p:nvSpPr>
        <p:spPr>
          <a:xfrm>
            <a:off x="95329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pic>
        <p:nvPicPr>
          <p:cNvPr id="11" name="Picture 20">
            <a:extLst>
              <a:ext uri="{FF2B5EF4-FFF2-40B4-BE49-F238E27FC236}">
                <a16:creationId xmlns:a16="http://schemas.microsoft.com/office/drawing/2014/main" id="{35F2F373-99F1-B67D-469C-72BDE2BC30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C6CC2CAA-95A4-2DB7-50BD-CA9F7DC33E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861A59AC-2127-92A8-6FBE-F5EC0EC06A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10140" y="3328407"/>
            <a:ext cx="1371719" cy="20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326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98C3BB23-B5E5-48B8-B0FF-DCE94E919D8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bg2"/>
          </a:solidFill>
        </p:spPr>
        <p:txBody>
          <a:bodyPr lIns="144000" tIns="108000" rIns="144000"/>
          <a:lstStyle>
            <a:lvl1pPr marL="0" indent="0" algn="r"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here and insert dark picture using the Insert tab, Pictures</a:t>
            </a:r>
          </a:p>
          <a:p>
            <a:endParaRPr lang="en-US"/>
          </a:p>
        </p:txBody>
      </p:sp>
      <p:sp>
        <p:nvSpPr>
          <p:cNvPr id="10" name="Logo Placeholder 9">
            <a:extLst>
              <a:ext uri="{FF2B5EF4-FFF2-40B4-BE49-F238E27FC236}">
                <a16:creationId xmlns:a16="http://schemas.microsoft.com/office/drawing/2014/main" id="{1878A2CB-79AD-4CA1-A16A-D26A568A44A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000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CC99890-C471-476E-ACFB-25F9651F2B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4663" y="2833688"/>
            <a:ext cx="7593012" cy="2328862"/>
          </a:xfrm>
          <a:noFill/>
        </p:spPr>
        <p:txBody>
          <a:bodyPr lIns="0" rIns="0" bIns="0" anchor="t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Date Placeholder 19">
            <a:extLst>
              <a:ext uri="{FF2B5EF4-FFF2-40B4-BE49-F238E27FC236}">
                <a16:creationId xmlns:a16="http://schemas.microsoft.com/office/drawing/2014/main" id="{65DE6DD0-0F4F-4475-A2FD-6F2FD02A6FA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000" y="6400050"/>
            <a:ext cx="2401755" cy="1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E9C914-2FAF-4357-9199-1EFF83AE2638}" type="datetime1">
              <a:rPr lang="en-GB" smtClean="0"/>
              <a:t>19/06/2024</a:t>
            </a:fld>
            <a:endParaRPr lang="en-US"/>
          </a:p>
        </p:txBody>
      </p:sp>
      <p:sp>
        <p:nvSpPr>
          <p:cNvPr id="19" name="Footer Placeholder 4" hidden="1">
            <a:extLst>
              <a:ext uri="{FF2B5EF4-FFF2-40B4-BE49-F238E27FC236}">
                <a16:creationId xmlns:a16="http://schemas.microsoft.com/office/drawing/2014/main" id="{F133348F-9C20-434C-9AFC-02470E5778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20" name="Slide Number Placeholder 5" hidden="1">
            <a:extLst>
              <a:ext uri="{FF2B5EF4-FFF2-40B4-BE49-F238E27FC236}">
                <a16:creationId xmlns:a16="http://schemas.microsoft.com/office/drawing/2014/main" id="{08EA9220-EEB1-4B68-9906-189527B54D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53986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billede 5">
            <a:extLst>
              <a:ext uri="{FF2B5EF4-FFF2-40B4-BE49-F238E27FC236}">
                <a16:creationId xmlns:a16="http://schemas.microsoft.com/office/drawing/2014/main" id="{3CE9675E-2253-8A3D-7E2F-1EA744EE4C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>
            <a:lvl1pPr>
              <a:defRPr sz="1000" b="0" i="1"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LIGHT </a:t>
            </a:r>
            <a:r>
              <a:rPr lang="da-DK" err="1"/>
              <a:t>background</a:t>
            </a:r>
            <a:r>
              <a:rPr lang="da-DK"/>
              <a:t> </a:t>
            </a:r>
            <a:r>
              <a:rPr lang="da-DK" err="1"/>
              <a:t>picture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110514"/>
            <a:ext cx="11197703" cy="1436291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ts val="5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aseline="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79F4468-C1FF-64B0-EF4F-D5E6B4F738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648632"/>
            <a:ext cx="7776292" cy="444194"/>
          </a:xfrm>
        </p:spPr>
        <p:txBody>
          <a:bodyPr/>
          <a:lstStyle>
            <a:lvl1pPr marL="0" indent="0" algn="l">
              <a:buNone/>
              <a:defRPr sz="1400" b="0" i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title</a:t>
            </a:r>
            <a:r>
              <a:rPr lang="da-DK"/>
              <a:t> or date</a:t>
            </a:r>
          </a:p>
        </p:txBody>
      </p:sp>
      <p:sp>
        <p:nvSpPr>
          <p:cNvPr id="4" name="Logo Placeholder 9">
            <a:extLst>
              <a:ext uri="{FF2B5EF4-FFF2-40B4-BE49-F238E27FC236}">
                <a16:creationId xmlns:a16="http://schemas.microsoft.com/office/drawing/2014/main" id="{F158071A-D44A-20E1-CF4E-1E9FD6C17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1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72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4E764CBE-A6B9-A945-6A3E-F9D71A80F56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DARK </a:t>
            </a:r>
            <a:r>
              <a:rPr lang="da-DK" err="1"/>
              <a:t>background</a:t>
            </a:r>
            <a:r>
              <a:rPr lang="da-DK"/>
              <a:t> </a:t>
            </a:r>
            <a:r>
              <a:rPr lang="da-DK" err="1"/>
              <a:t>picture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059218"/>
            <a:ext cx="11197703" cy="1487587"/>
          </a:xfrm>
        </p:spPr>
        <p:txBody>
          <a:bodyPr anchor="b"/>
          <a:lstStyle>
            <a:lvl1pPr algn="l">
              <a:lnSpc>
                <a:spcPts val="5600"/>
              </a:lnSpc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7" name="Logo Placeholder 9">
            <a:extLst>
              <a:ext uri="{FF2B5EF4-FFF2-40B4-BE49-F238E27FC236}">
                <a16:creationId xmlns:a16="http://schemas.microsoft.com/office/drawing/2014/main" id="{76B89C13-DE2E-EE02-3A19-0081F79616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1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" name="Undertitel 2">
            <a:extLst>
              <a:ext uri="{FF2B5EF4-FFF2-40B4-BE49-F238E27FC236}">
                <a16:creationId xmlns:a16="http://schemas.microsoft.com/office/drawing/2014/main" id="{59C46F6D-F34F-A91C-CF04-07D898A9A1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648632"/>
            <a:ext cx="7776292" cy="444194"/>
          </a:xfrm>
        </p:spPr>
        <p:txBody>
          <a:bodyPr/>
          <a:lstStyle>
            <a:lvl1pPr marL="0" indent="0" algn="l">
              <a:buNone/>
              <a:defRPr sz="1400" b="0" i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title</a:t>
            </a:r>
            <a:r>
              <a:rPr lang="da-DK"/>
              <a:t> or date</a:t>
            </a:r>
          </a:p>
        </p:txBody>
      </p:sp>
    </p:spTree>
    <p:extLst>
      <p:ext uri="{BB962C8B-B14F-4D97-AF65-F5344CB8AC3E}">
        <p14:creationId xmlns:p14="http://schemas.microsoft.com/office/powerpoint/2010/main" val="376949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og indholdsobjek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">
            <a:extLst>
              <a:ext uri="{FF2B5EF4-FFF2-40B4-BE49-F238E27FC236}">
                <a16:creationId xmlns:a16="http://schemas.microsoft.com/office/drawing/2014/main" id="{D17F83DC-ACEC-4D00-6DB7-3D386835EC7F}"/>
              </a:ext>
            </a:extLst>
          </p:cNvPr>
          <p:cNvSpPr/>
          <p:nvPr userDrawn="1"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0" noProof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452912"/>
            <a:ext cx="3319792" cy="1190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48267" y="544063"/>
            <a:ext cx="6827796" cy="5494972"/>
          </a:xfrm>
        </p:spPr>
        <p:txBody>
          <a:bodyPr/>
          <a:lstStyle>
            <a:lvl1pPr>
              <a:spcBef>
                <a:spcPts val="2200"/>
              </a:spcBef>
              <a:defRPr sz="2000" b="1" i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936625" indent="-927100">
              <a:tabLst/>
              <a:defRPr sz="1400" b="0" i="0" cap="none" baseline="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1"/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6F0F0BDF-BEE2-1699-FD3E-530882D90D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155328" y="416498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ladsholder til indhold 4">
            <a:extLst>
              <a:ext uri="{FF2B5EF4-FFF2-40B4-BE49-F238E27FC236}">
                <a16:creationId xmlns:a16="http://schemas.microsoft.com/office/drawing/2014/main" id="{D1E97D3D-E3A9-38CA-71EC-F0BC8CE5388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155328" y="1226134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ladsholder til indhold 4">
            <a:extLst>
              <a:ext uri="{FF2B5EF4-FFF2-40B4-BE49-F238E27FC236}">
                <a16:creationId xmlns:a16="http://schemas.microsoft.com/office/drawing/2014/main" id="{3D34BDAD-16A9-A94A-C4A9-3916CA1A8EE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55328" y="2035770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ladsholder til indhold 4">
            <a:extLst>
              <a:ext uri="{FF2B5EF4-FFF2-40B4-BE49-F238E27FC236}">
                <a16:creationId xmlns:a16="http://schemas.microsoft.com/office/drawing/2014/main" id="{EEC7686E-0A5A-431B-2817-4810F65C398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55328" y="2845406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ladsholder til indhold 4">
            <a:extLst>
              <a:ext uri="{FF2B5EF4-FFF2-40B4-BE49-F238E27FC236}">
                <a16:creationId xmlns:a16="http://schemas.microsoft.com/office/drawing/2014/main" id="{062FF6CE-1384-5A75-7EBC-9B3ADF1F4A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55328" y="3655042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ladsholder til indhold 4">
            <a:extLst>
              <a:ext uri="{FF2B5EF4-FFF2-40B4-BE49-F238E27FC236}">
                <a16:creationId xmlns:a16="http://schemas.microsoft.com/office/drawing/2014/main" id="{5DE38226-7B0C-8B45-15E9-12DF80D7F71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155328" y="4464678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ladsholder til indhold 4">
            <a:extLst>
              <a:ext uri="{FF2B5EF4-FFF2-40B4-BE49-F238E27FC236}">
                <a16:creationId xmlns:a16="http://schemas.microsoft.com/office/drawing/2014/main" id="{BC9D7658-1382-A017-F44E-577ED3F51C4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155328" y="5274313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709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 og indholdsobjek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999" y="452912"/>
            <a:ext cx="11172063" cy="6412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515939" y="1700213"/>
            <a:ext cx="11160126" cy="4392613"/>
          </a:xfrm>
        </p:spPr>
        <p:txBody>
          <a:bodyPr numCol="2"/>
          <a:lstStyle>
            <a:lvl1pPr>
              <a:spcBef>
                <a:spcPts val="1600"/>
              </a:spcBef>
              <a:defRPr sz="2000" b="1" i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936625" indent="0">
              <a:tabLst/>
              <a:defRPr sz="1400" b="0" i="0" cap="none" baseline="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08.00	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10.15	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8392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452912"/>
            <a:ext cx="11160125" cy="417182"/>
          </a:xfrm>
        </p:spPr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2ACA9BA9-37BB-E578-789F-EFDEEB8344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128090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616489"/>
            <a:ext cx="11160125" cy="417182"/>
          </a:xfrm>
        </p:spPr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2ACA9BA9-37BB-E578-789F-EFDEEB8344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122045"/>
            <a:ext cx="11160125" cy="384175"/>
          </a:xfrm>
        </p:spPr>
        <p:txBody>
          <a:bodyPr/>
          <a:lstStyle>
            <a:lvl1pPr>
              <a:defRPr sz="2000" b="0" i="0" cap="all" baseline="0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302454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DF1E1D36-AF82-D3D7-2A46-DA13A0F26E2E}"/>
              </a:ext>
            </a:extLst>
          </p:cNvPr>
          <p:cNvSpPr/>
          <p:nvPr/>
        </p:nvSpPr>
        <p:spPr>
          <a:xfrm>
            <a:off x="0" y="0"/>
            <a:ext cx="287382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523423"/>
            <a:ext cx="2084759" cy="2508000"/>
          </a:xfrm>
        </p:spPr>
        <p:txBody>
          <a:bodyPr/>
          <a:lstStyle>
            <a:lvl1pPr>
              <a:lnSpc>
                <a:spcPts val="3200"/>
              </a:lnSpc>
              <a:defRPr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3313216" y="584200"/>
            <a:ext cx="8362846" cy="5492555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2179637" cy="2636837"/>
          </a:xfrm>
        </p:spPr>
        <p:txBody>
          <a:bodyPr anchor="b" anchorCtr="0"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36247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DF1E1D36-AF82-D3D7-2A46-DA13A0F26E2E}"/>
              </a:ext>
            </a:extLst>
          </p:cNvPr>
          <p:cNvSpPr/>
          <p:nvPr/>
        </p:nvSpPr>
        <p:spPr>
          <a:xfrm>
            <a:off x="0" y="0"/>
            <a:ext cx="287382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514955"/>
            <a:ext cx="2084759" cy="2664883"/>
          </a:xfrm>
        </p:spPr>
        <p:txBody>
          <a:bodyPr/>
          <a:lstStyle>
            <a:lvl1pPr>
              <a:lnSpc>
                <a:spcPts val="32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3313216" y="584200"/>
            <a:ext cx="8362846" cy="5492555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2179637" cy="2636837"/>
          </a:xfrm>
        </p:spPr>
        <p:txBody>
          <a:bodyPr anchor="b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71969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9764CE5A-FEFC-FD55-E2F0-E4E53181C8A7}"/>
              </a:ext>
            </a:extLst>
          </p:cNvPr>
          <p:cNvSpPr/>
          <p:nvPr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0" noProof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514956"/>
            <a:ext cx="3366515" cy="2364562"/>
          </a:xfrm>
        </p:spPr>
        <p:txBody>
          <a:bodyPr/>
          <a:lstStyle>
            <a:lvl1pPr>
              <a:lnSpc>
                <a:spcPts val="32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287520" y="0"/>
            <a:ext cx="7898903" cy="6858000"/>
          </a:xfrm>
          <a:ln>
            <a:noFill/>
          </a:ln>
        </p:spPr>
        <p:txBody>
          <a:bodyPr bIns="1440000" anchor="ctr" anchorCtr="0"/>
          <a:lstStyle>
            <a:lvl1pPr algn="ctr">
              <a:defRPr sz="1000" b="0" i="1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3396495" cy="2636837"/>
          </a:xfrm>
        </p:spPr>
        <p:txBody>
          <a:bodyPr anchor="b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03864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44E3B931-B4F4-7765-DE97-E06544D9122A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0" y="0"/>
            <a:ext cx="4291013" cy="6858000"/>
          </a:xfrm>
        </p:spPr>
        <p:txBody>
          <a:bodyPr bIns="972000" anchor="ctr" anchorCtr="1"/>
          <a:lstStyle>
            <a:lvl1pPr>
              <a:defRPr sz="1000" b="0" i="1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764CE5A-FEFC-FD55-E2F0-E4E53181C8A7}"/>
              </a:ext>
            </a:extLst>
          </p:cNvPr>
          <p:cNvSpPr/>
          <p:nvPr/>
        </p:nvSpPr>
        <p:spPr>
          <a:xfrm>
            <a:off x="4296427" y="0"/>
            <a:ext cx="7895574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0" noProof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189" y="467000"/>
            <a:ext cx="6880622" cy="499906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29908" y="1700213"/>
            <a:ext cx="6846155" cy="4392612"/>
          </a:xfrm>
          <a:ln>
            <a:noFill/>
          </a:ln>
        </p:spPr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9" name="Billede 4">
            <a:extLst>
              <a:ext uri="{FF2B5EF4-FFF2-40B4-BE49-F238E27FC236}">
                <a16:creationId xmlns:a16="http://schemas.microsoft.com/office/drawing/2014/main" id="{E3B9C3F1-C979-5D87-0291-874DFFD069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11B559B2-D24A-8A87-C32E-0806FA38A1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5082" y="1034957"/>
            <a:ext cx="6870981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258221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44E3B931-B4F4-7765-DE97-E06544D9122A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0" y="0"/>
            <a:ext cx="4291013" cy="6858000"/>
          </a:xfrm>
          <a:solidFill>
            <a:schemeClr val="bg2"/>
          </a:solidFill>
        </p:spPr>
        <p:txBody>
          <a:bodyPr bIns="972000" anchor="ctr" anchorCtr="1"/>
          <a:lstStyle>
            <a:lvl1pPr>
              <a:defRPr sz="1000" b="0" i="1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189" y="467000"/>
            <a:ext cx="6880622" cy="530594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29908" y="1700213"/>
            <a:ext cx="6846155" cy="4392612"/>
          </a:xfrm>
          <a:ln>
            <a:noFill/>
          </a:ln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1AA8F475-C973-5DAC-12ED-EC2300E432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5082" y="1034957"/>
            <a:ext cx="6870981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666550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0"/>
            <a:ext cx="12192000" cy="1330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5BEF7C2-4D16-5F9E-DAB9-03BD494D2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54063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-1"/>
            <a:ext cx="12192000" cy="151108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4">
            <a:extLst>
              <a:ext uri="{FF2B5EF4-FFF2-40B4-BE49-F238E27FC236}">
                <a16:creationId xmlns:a16="http://schemas.microsoft.com/office/drawing/2014/main" id="{92032E86-710B-ED8B-E9C5-81FA1D6F0C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364298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og indholdsobjek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00F0E8E2-F8DC-2271-A863-DF672E5C22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pic>
        <p:nvPicPr>
          <p:cNvPr id="4" name="Billede 4">
            <a:extLst>
              <a:ext uri="{FF2B5EF4-FFF2-40B4-BE49-F238E27FC236}">
                <a16:creationId xmlns:a16="http://schemas.microsoft.com/office/drawing/2014/main" id="{90B1529D-6E22-99F6-9369-FE47FAC0B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5ED60A69-247D-558D-5A0A-83B37D7444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193511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 og indholdsobjekt">
    <p:bg>
      <p:bgPr>
        <a:gradFill flip="none" rotWithShape="1">
          <a:gsLst>
            <a:gs pos="0">
              <a:schemeClr val="tx1"/>
            </a:gs>
            <a:gs pos="50000">
              <a:schemeClr val="tx1">
                <a:lumMod val="94000"/>
                <a:lumOff val="6000"/>
              </a:schemeClr>
            </a:gs>
            <a:gs pos="100000">
              <a:schemeClr val="accent2">
                <a:lumMod val="68000"/>
              </a:schemeClr>
            </a:gs>
          </a:gsLst>
          <a:lin ang="4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00F0E8E2-F8DC-2271-A863-DF672E5C22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pic>
        <p:nvPicPr>
          <p:cNvPr id="4" name="Billede 4">
            <a:extLst>
              <a:ext uri="{FF2B5EF4-FFF2-40B4-BE49-F238E27FC236}">
                <a16:creationId xmlns:a16="http://schemas.microsoft.com/office/drawing/2014/main" id="{EB0D3D71-B848-47CB-86AC-C0AB445C8E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1F58D6B-3418-B013-6A33-D7E2DA6A4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428743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320914-BF76-4E59-EA76-E76A44BBAE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6FA621F-F8FC-407F-36EC-CE2B68BF1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t>‹#›</a:t>
            </a:fld>
            <a:endParaRPr lang="da-DK"/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E04DEFA2-2B7C-1270-E053-054BEF1DB6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48327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DF1E1D36-AF82-D3D7-2A46-DA13A0F26E2E}"/>
              </a:ext>
            </a:extLst>
          </p:cNvPr>
          <p:cNvSpPr/>
          <p:nvPr/>
        </p:nvSpPr>
        <p:spPr>
          <a:xfrm>
            <a:off x="0" y="0"/>
            <a:ext cx="287382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619825"/>
            <a:ext cx="2084759" cy="2016497"/>
          </a:xfrm>
        </p:spPr>
        <p:txBody>
          <a:bodyPr/>
          <a:lstStyle>
            <a:lvl1pPr>
              <a:lnSpc>
                <a:spcPts val="4000"/>
              </a:lnSpc>
              <a:defRPr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3313216" y="584200"/>
            <a:ext cx="8362846" cy="5492555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2179637" cy="2636837"/>
          </a:xfrm>
        </p:spPr>
        <p:txBody>
          <a:bodyPr anchor="b" anchorCtr="0"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09735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24A745AC-2BEA-2FB5-B56F-F4C64709A71F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3357563"/>
            <a:ext cx="12192000" cy="3500437"/>
          </a:xfrm>
          <a:solidFill>
            <a:schemeClr val="bg2"/>
          </a:solidFill>
        </p:spPr>
        <p:txBody>
          <a:bodyPr tIns="684000" anchor="ctr" anchorCtr="1"/>
          <a:lstStyle>
            <a:lvl1pPr>
              <a:defRPr sz="1000" b="0" i="1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320914-BF76-4E59-EA76-E76A44BBAE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slidenummer 4">
            <a:extLst>
              <a:ext uri="{FF2B5EF4-FFF2-40B4-BE49-F238E27FC236}">
                <a16:creationId xmlns:a16="http://schemas.microsoft.com/office/drawing/2014/main" id="{1805C3DA-FB30-3CB2-AAAF-B3A0414E2D80}"/>
              </a:ext>
            </a:extLst>
          </p:cNvPr>
          <p:cNvSpPr txBox="1">
            <a:spLocks/>
          </p:cNvSpPr>
          <p:nvPr userDrawn="1"/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GT Walsheim Pro Ligh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BC3415-6A21-2E49-A058-D443F991EEAB}" type="slidenum">
              <a:rPr lang="da-DK" b="0" i="0" smtClean="0">
                <a:latin typeface="Arial" panose="020B0604020202020204" pitchFamily="34" charset="0"/>
              </a:rPr>
              <a:pPr/>
              <a:t>‹#›</a:t>
            </a:fld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6" name="Pladsholder til indhold 6">
            <a:extLst>
              <a:ext uri="{FF2B5EF4-FFF2-40B4-BE49-F238E27FC236}">
                <a16:creationId xmlns:a16="http://schemas.microsoft.com/office/drawing/2014/main" id="{F520E249-E551-2211-DEB5-08A56958E64E}"/>
              </a:ext>
            </a:extLst>
          </p:cNvPr>
          <p:cNvSpPr>
            <a:spLocks noGrp="1" noChangeAspect="1"/>
          </p:cNvSpPr>
          <p:nvPr>
            <p:ph sz="quarter" idx="14" hasCustomPrompt="1"/>
          </p:nvPr>
        </p:nvSpPr>
        <p:spPr>
          <a:xfrm>
            <a:off x="5159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8C236FEF-CDAE-170A-E385-998A41D9C8E7}"/>
              </a:ext>
            </a:extLst>
          </p:cNvPr>
          <p:cNvSpPr>
            <a:spLocks noGrp="1" noChangeAspect="1"/>
          </p:cNvSpPr>
          <p:nvPr>
            <p:ph sz="quarter" idx="15" hasCustomPrompt="1"/>
          </p:nvPr>
        </p:nvSpPr>
        <p:spPr>
          <a:xfrm>
            <a:off x="277018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41E94D16-2920-1480-B842-D6E49514B97E}"/>
              </a:ext>
            </a:extLst>
          </p:cNvPr>
          <p:cNvSpPr>
            <a:spLocks noGrp="1" noChangeAspect="1"/>
          </p:cNvSpPr>
          <p:nvPr>
            <p:ph sz="quarter" idx="16" hasCustomPrompt="1"/>
          </p:nvPr>
        </p:nvSpPr>
        <p:spPr>
          <a:xfrm>
            <a:off x="50244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9" name="Pladsholder til indhold 6">
            <a:extLst>
              <a:ext uri="{FF2B5EF4-FFF2-40B4-BE49-F238E27FC236}">
                <a16:creationId xmlns:a16="http://schemas.microsoft.com/office/drawing/2014/main" id="{E2C8F437-1324-DB2D-99AE-0CAAA9F59CE3}"/>
              </a:ext>
            </a:extLst>
          </p:cNvPr>
          <p:cNvSpPr>
            <a:spLocks noGrp="1" noChangeAspect="1"/>
          </p:cNvSpPr>
          <p:nvPr>
            <p:ph sz="quarter" idx="17" hasCustomPrompt="1"/>
          </p:nvPr>
        </p:nvSpPr>
        <p:spPr>
          <a:xfrm>
            <a:off x="727868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10" name="Pladsholder til indhold 6">
            <a:extLst>
              <a:ext uri="{FF2B5EF4-FFF2-40B4-BE49-F238E27FC236}">
                <a16:creationId xmlns:a16="http://schemas.microsoft.com/office/drawing/2014/main" id="{426B4731-5D4E-0A5D-7106-D71B4A7FB52F}"/>
              </a:ext>
            </a:extLst>
          </p:cNvPr>
          <p:cNvSpPr>
            <a:spLocks noGrp="1" noChangeAspect="1"/>
          </p:cNvSpPr>
          <p:nvPr>
            <p:ph sz="quarter" idx="18" hasCustomPrompt="1"/>
          </p:nvPr>
        </p:nvSpPr>
        <p:spPr>
          <a:xfrm>
            <a:off x="95329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pic>
        <p:nvPicPr>
          <p:cNvPr id="11" name="Picture 20">
            <a:extLst>
              <a:ext uri="{FF2B5EF4-FFF2-40B4-BE49-F238E27FC236}">
                <a16:creationId xmlns:a16="http://schemas.microsoft.com/office/drawing/2014/main" id="{35F2F373-99F1-B67D-469C-72BDE2BC30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C6CC2CAA-95A4-2DB7-50BD-CA9F7DC33E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861A59AC-2127-92A8-6FBE-F5EC0EC06A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10140" y="3328407"/>
            <a:ext cx="1371719" cy="20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21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billede 5">
            <a:extLst>
              <a:ext uri="{FF2B5EF4-FFF2-40B4-BE49-F238E27FC236}">
                <a16:creationId xmlns:a16="http://schemas.microsoft.com/office/drawing/2014/main" id="{3CE9675E-2253-8A3D-7E2F-1EA744EE4C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>
            <a:lvl1pPr>
              <a:defRPr sz="1000" b="0" i="1"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LIGHT </a:t>
            </a:r>
            <a:r>
              <a:rPr lang="da-DK" err="1"/>
              <a:t>background</a:t>
            </a:r>
            <a:r>
              <a:rPr lang="da-DK"/>
              <a:t> </a:t>
            </a:r>
            <a:r>
              <a:rPr lang="da-DK" err="1"/>
              <a:t>picture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110514"/>
            <a:ext cx="11197703" cy="1436291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ts val="5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aseline="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79F4468-C1FF-64B0-EF4F-D5E6B4F738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648632"/>
            <a:ext cx="7776292" cy="444194"/>
          </a:xfrm>
        </p:spPr>
        <p:txBody>
          <a:bodyPr/>
          <a:lstStyle>
            <a:lvl1pPr marL="0" indent="0" algn="l">
              <a:buNone/>
              <a:defRPr sz="1400" b="0" i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title</a:t>
            </a:r>
            <a:r>
              <a:rPr lang="da-DK"/>
              <a:t> or date</a:t>
            </a:r>
          </a:p>
        </p:txBody>
      </p:sp>
      <p:sp>
        <p:nvSpPr>
          <p:cNvPr id="4" name="Logo Placeholder 9">
            <a:extLst>
              <a:ext uri="{FF2B5EF4-FFF2-40B4-BE49-F238E27FC236}">
                <a16:creationId xmlns:a16="http://schemas.microsoft.com/office/drawing/2014/main" id="{F158071A-D44A-20E1-CF4E-1E9FD6C17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1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23565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4E764CBE-A6B9-A945-6A3E-F9D71A80F56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DARK </a:t>
            </a:r>
            <a:r>
              <a:rPr lang="da-DK" err="1"/>
              <a:t>background</a:t>
            </a:r>
            <a:r>
              <a:rPr lang="da-DK"/>
              <a:t> </a:t>
            </a:r>
            <a:r>
              <a:rPr lang="da-DK" err="1"/>
              <a:t>picture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059218"/>
            <a:ext cx="11197703" cy="1487587"/>
          </a:xfrm>
        </p:spPr>
        <p:txBody>
          <a:bodyPr anchor="b"/>
          <a:lstStyle>
            <a:lvl1pPr algn="l">
              <a:lnSpc>
                <a:spcPts val="5600"/>
              </a:lnSpc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7" name="Logo Placeholder 9">
            <a:extLst>
              <a:ext uri="{FF2B5EF4-FFF2-40B4-BE49-F238E27FC236}">
                <a16:creationId xmlns:a16="http://schemas.microsoft.com/office/drawing/2014/main" id="{76B89C13-DE2E-EE02-3A19-0081F79616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1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" name="Undertitel 2">
            <a:extLst>
              <a:ext uri="{FF2B5EF4-FFF2-40B4-BE49-F238E27FC236}">
                <a16:creationId xmlns:a16="http://schemas.microsoft.com/office/drawing/2014/main" id="{59C46F6D-F34F-A91C-CF04-07D898A9A1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648632"/>
            <a:ext cx="7776292" cy="444194"/>
          </a:xfrm>
        </p:spPr>
        <p:txBody>
          <a:bodyPr/>
          <a:lstStyle>
            <a:lvl1pPr marL="0" indent="0" algn="l">
              <a:buNone/>
              <a:defRPr sz="1400" b="0" i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title</a:t>
            </a:r>
            <a:r>
              <a:rPr lang="da-DK"/>
              <a:t> or date</a:t>
            </a:r>
          </a:p>
        </p:txBody>
      </p:sp>
    </p:spTree>
    <p:extLst>
      <p:ext uri="{BB962C8B-B14F-4D97-AF65-F5344CB8AC3E}">
        <p14:creationId xmlns:p14="http://schemas.microsoft.com/office/powerpoint/2010/main" val="3493978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og indholdsobjek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">
            <a:extLst>
              <a:ext uri="{FF2B5EF4-FFF2-40B4-BE49-F238E27FC236}">
                <a16:creationId xmlns:a16="http://schemas.microsoft.com/office/drawing/2014/main" id="{D17F83DC-ACEC-4D00-6DB7-3D386835EC7F}"/>
              </a:ext>
            </a:extLst>
          </p:cNvPr>
          <p:cNvSpPr/>
          <p:nvPr userDrawn="1"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0" noProof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452912"/>
            <a:ext cx="3319792" cy="1190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48267" y="544063"/>
            <a:ext cx="6827796" cy="5494972"/>
          </a:xfrm>
        </p:spPr>
        <p:txBody>
          <a:bodyPr/>
          <a:lstStyle>
            <a:lvl1pPr>
              <a:spcBef>
                <a:spcPts val="2200"/>
              </a:spcBef>
              <a:defRPr sz="2000" b="1" i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936625" indent="-927100">
              <a:tabLst/>
              <a:defRPr sz="1400" b="0" i="0" cap="none" baseline="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1"/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6F0F0BDF-BEE2-1699-FD3E-530882D90D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155328" y="416498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9" name="Pladsholder til indhold 4">
            <a:extLst>
              <a:ext uri="{FF2B5EF4-FFF2-40B4-BE49-F238E27FC236}">
                <a16:creationId xmlns:a16="http://schemas.microsoft.com/office/drawing/2014/main" id="{D1E97D3D-E3A9-38CA-71EC-F0BC8CE5388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155328" y="1226134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0" name="Pladsholder til indhold 4">
            <a:extLst>
              <a:ext uri="{FF2B5EF4-FFF2-40B4-BE49-F238E27FC236}">
                <a16:creationId xmlns:a16="http://schemas.microsoft.com/office/drawing/2014/main" id="{3D34BDAD-16A9-A94A-C4A9-3916CA1A8EE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55328" y="2035770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indhold 4">
            <a:extLst>
              <a:ext uri="{FF2B5EF4-FFF2-40B4-BE49-F238E27FC236}">
                <a16:creationId xmlns:a16="http://schemas.microsoft.com/office/drawing/2014/main" id="{EEC7686E-0A5A-431B-2817-4810F65C398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55328" y="2845406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indhold 4">
            <a:extLst>
              <a:ext uri="{FF2B5EF4-FFF2-40B4-BE49-F238E27FC236}">
                <a16:creationId xmlns:a16="http://schemas.microsoft.com/office/drawing/2014/main" id="{062FF6CE-1384-5A75-7EBC-9B3ADF1F4A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55328" y="3655042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3" name="Pladsholder til indhold 4">
            <a:extLst>
              <a:ext uri="{FF2B5EF4-FFF2-40B4-BE49-F238E27FC236}">
                <a16:creationId xmlns:a16="http://schemas.microsoft.com/office/drawing/2014/main" id="{5DE38226-7B0C-8B45-15E9-12DF80D7F71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155328" y="4464678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indhold 4">
            <a:extLst>
              <a:ext uri="{FF2B5EF4-FFF2-40B4-BE49-F238E27FC236}">
                <a16:creationId xmlns:a16="http://schemas.microsoft.com/office/drawing/2014/main" id="{BC9D7658-1382-A017-F44E-577ED3F51C4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155328" y="5274313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404656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 og indholdsobjek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999" y="452912"/>
            <a:ext cx="11172063" cy="6412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515939" y="1700213"/>
            <a:ext cx="11160126" cy="4392613"/>
          </a:xfrm>
        </p:spPr>
        <p:txBody>
          <a:bodyPr numCol="2"/>
          <a:lstStyle>
            <a:lvl1pPr>
              <a:spcBef>
                <a:spcPts val="1600"/>
              </a:spcBef>
              <a:defRPr sz="2000" b="1" i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936625" indent="0">
              <a:tabLst/>
              <a:defRPr sz="1400" b="0" i="0" cap="none" baseline="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08.00	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10.15	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7776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452912"/>
            <a:ext cx="11160125" cy="417182"/>
          </a:xfrm>
        </p:spPr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2ACA9BA9-37BB-E578-789F-EFDEEB8344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42919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DF1E1D36-AF82-D3D7-2A46-DA13A0F26E2E}"/>
              </a:ext>
            </a:extLst>
          </p:cNvPr>
          <p:cNvSpPr/>
          <p:nvPr/>
        </p:nvSpPr>
        <p:spPr>
          <a:xfrm>
            <a:off x="0" y="0"/>
            <a:ext cx="287382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523423"/>
            <a:ext cx="2084759" cy="2508000"/>
          </a:xfrm>
        </p:spPr>
        <p:txBody>
          <a:bodyPr/>
          <a:lstStyle>
            <a:lvl1pPr>
              <a:lnSpc>
                <a:spcPts val="3200"/>
              </a:lnSpc>
              <a:defRPr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3313216" y="584200"/>
            <a:ext cx="8362846" cy="5492555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2179637" cy="2636837"/>
          </a:xfrm>
        </p:spPr>
        <p:txBody>
          <a:bodyPr anchor="b" anchorCtr="0"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5400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DF1E1D36-AF82-D3D7-2A46-DA13A0F26E2E}"/>
              </a:ext>
            </a:extLst>
          </p:cNvPr>
          <p:cNvSpPr/>
          <p:nvPr/>
        </p:nvSpPr>
        <p:spPr>
          <a:xfrm>
            <a:off x="0" y="0"/>
            <a:ext cx="287382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514955"/>
            <a:ext cx="2084759" cy="2664883"/>
          </a:xfrm>
        </p:spPr>
        <p:txBody>
          <a:bodyPr/>
          <a:lstStyle>
            <a:lvl1pPr>
              <a:lnSpc>
                <a:spcPts val="32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3313216" y="584200"/>
            <a:ext cx="8362846" cy="5492555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2179637" cy="2636837"/>
          </a:xfrm>
        </p:spPr>
        <p:txBody>
          <a:bodyPr anchor="b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59707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9764CE5A-FEFC-FD55-E2F0-E4E53181C8A7}"/>
              </a:ext>
            </a:extLst>
          </p:cNvPr>
          <p:cNvSpPr/>
          <p:nvPr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0" noProof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514956"/>
            <a:ext cx="3366515" cy="2364562"/>
          </a:xfrm>
        </p:spPr>
        <p:txBody>
          <a:bodyPr/>
          <a:lstStyle>
            <a:lvl1pPr>
              <a:lnSpc>
                <a:spcPts val="32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287520" y="0"/>
            <a:ext cx="7898903" cy="6858000"/>
          </a:xfrm>
          <a:ln>
            <a:noFill/>
          </a:ln>
        </p:spPr>
        <p:txBody>
          <a:bodyPr bIns="1440000" anchor="ctr" anchorCtr="0"/>
          <a:lstStyle>
            <a:lvl1pPr algn="ctr">
              <a:defRPr sz="1000" b="0" i="1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3396495" cy="2636837"/>
          </a:xfrm>
        </p:spPr>
        <p:txBody>
          <a:bodyPr anchor="b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34641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44E3B931-B4F4-7765-DE97-E06544D9122A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0" y="0"/>
            <a:ext cx="4291013" cy="6858000"/>
          </a:xfrm>
        </p:spPr>
        <p:txBody>
          <a:bodyPr bIns="972000" anchor="ctr" anchorCtr="1"/>
          <a:lstStyle>
            <a:lvl1pPr>
              <a:defRPr sz="1000" b="0" i="1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764CE5A-FEFC-FD55-E2F0-E4E53181C8A7}"/>
              </a:ext>
            </a:extLst>
          </p:cNvPr>
          <p:cNvSpPr/>
          <p:nvPr/>
        </p:nvSpPr>
        <p:spPr>
          <a:xfrm>
            <a:off x="4296427" y="0"/>
            <a:ext cx="7895574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0" noProof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189" y="467000"/>
            <a:ext cx="6880622" cy="499906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29908" y="1700213"/>
            <a:ext cx="6846155" cy="4392612"/>
          </a:xfrm>
          <a:ln>
            <a:noFill/>
          </a:ln>
        </p:spPr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9" name="Billede 4">
            <a:extLst>
              <a:ext uri="{FF2B5EF4-FFF2-40B4-BE49-F238E27FC236}">
                <a16:creationId xmlns:a16="http://schemas.microsoft.com/office/drawing/2014/main" id="{E3B9C3F1-C979-5D87-0291-874DFFD069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11B559B2-D24A-8A87-C32E-0806FA38A1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5082" y="1034957"/>
            <a:ext cx="6870981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3725478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DF1E1D36-AF82-D3D7-2A46-DA13A0F26E2E}"/>
              </a:ext>
            </a:extLst>
          </p:cNvPr>
          <p:cNvSpPr/>
          <p:nvPr/>
        </p:nvSpPr>
        <p:spPr>
          <a:xfrm>
            <a:off x="0" y="0"/>
            <a:ext cx="287382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619825"/>
            <a:ext cx="2084759" cy="1043555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3313216" y="584200"/>
            <a:ext cx="8362846" cy="5492555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2179637" cy="2636837"/>
          </a:xfrm>
        </p:spPr>
        <p:txBody>
          <a:bodyPr anchor="b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77082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44E3B931-B4F4-7765-DE97-E06544D9122A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0" y="0"/>
            <a:ext cx="4291013" cy="6858000"/>
          </a:xfrm>
          <a:solidFill>
            <a:schemeClr val="bg2"/>
          </a:solidFill>
        </p:spPr>
        <p:txBody>
          <a:bodyPr bIns="972000" anchor="ctr" anchorCtr="1"/>
          <a:lstStyle>
            <a:lvl1pPr>
              <a:defRPr sz="1000" b="0" i="1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189" y="467000"/>
            <a:ext cx="6880622" cy="530594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29908" y="1700213"/>
            <a:ext cx="6846155" cy="4392612"/>
          </a:xfrm>
          <a:ln>
            <a:noFill/>
          </a:ln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1AA8F475-C973-5DAC-12ED-EC2300E432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5082" y="1034957"/>
            <a:ext cx="6870981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2247186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0"/>
            <a:ext cx="12192000" cy="1330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5BEF7C2-4D16-5F9E-DAB9-03BD494D2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1081985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-1"/>
            <a:ext cx="12192000" cy="151108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4">
            <a:extLst>
              <a:ext uri="{FF2B5EF4-FFF2-40B4-BE49-F238E27FC236}">
                <a16:creationId xmlns:a16="http://schemas.microsoft.com/office/drawing/2014/main" id="{92032E86-710B-ED8B-E9C5-81FA1D6F0C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2203995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 og indholdsobjek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00F0E8E2-F8DC-2271-A863-DF672E5C22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pic>
        <p:nvPicPr>
          <p:cNvPr id="4" name="Billede 4">
            <a:extLst>
              <a:ext uri="{FF2B5EF4-FFF2-40B4-BE49-F238E27FC236}">
                <a16:creationId xmlns:a16="http://schemas.microsoft.com/office/drawing/2014/main" id="{90B1529D-6E22-99F6-9369-FE47FAC0B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5ED60A69-247D-558D-5A0A-83B37D7444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1237722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 og indholdsobjekt">
    <p:bg>
      <p:bgPr>
        <a:gradFill flip="none" rotWithShape="1">
          <a:gsLst>
            <a:gs pos="0">
              <a:schemeClr val="tx1"/>
            </a:gs>
            <a:gs pos="50000">
              <a:schemeClr val="tx1">
                <a:lumMod val="94000"/>
                <a:lumOff val="6000"/>
              </a:schemeClr>
            </a:gs>
            <a:gs pos="100000">
              <a:schemeClr val="accent2">
                <a:lumMod val="68000"/>
              </a:schemeClr>
            </a:gs>
          </a:gsLst>
          <a:lin ang="4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00F0E8E2-F8DC-2271-A863-DF672E5C22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pic>
        <p:nvPicPr>
          <p:cNvPr id="4" name="Billede 4">
            <a:extLst>
              <a:ext uri="{FF2B5EF4-FFF2-40B4-BE49-F238E27FC236}">
                <a16:creationId xmlns:a16="http://schemas.microsoft.com/office/drawing/2014/main" id="{EB0D3D71-B848-47CB-86AC-C0AB445C8E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1F58D6B-3418-B013-6A33-D7E2DA6A4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3926868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320914-BF76-4E59-EA76-E76A44BBAE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6FA621F-F8FC-407F-36EC-CE2B68BF1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t>‹#›</a:t>
            </a:fld>
            <a:endParaRPr lang="da-DK"/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E04DEFA2-2B7C-1270-E053-054BEF1DB6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2206911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24A745AC-2BEA-2FB5-B56F-F4C64709A71F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3357563"/>
            <a:ext cx="12192000" cy="3500437"/>
          </a:xfrm>
          <a:solidFill>
            <a:schemeClr val="bg2"/>
          </a:solidFill>
        </p:spPr>
        <p:txBody>
          <a:bodyPr tIns="684000" anchor="ctr" anchorCtr="1"/>
          <a:lstStyle>
            <a:lvl1pPr>
              <a:defRPr sz="1000" b="0" i="1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320914-BF76-4E59-EA76-E76A44BBAE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slidenummer 4">
            <a:extLst>
              <a:ext uri="{FF2B5EF4-FFF2-40B4-BE49-F238E27FC236}">
                <a16:creationId xmlns:a16="http://schemas.microsoft.com/office/drawing/2014/main" id="{1805C3DA-FB30-3CB2-AAAF-B3A0414E2D80}"/>
              </a:ext>
            </a:extLst>
          </p:cNvPr>
          <p:cNvSpPr txBox="1">
            <a:spLocks/>
          </p:cNvSpPr>
          <p:nvPr userDrawn="1"/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GT Walsheim Pro Ligh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BC3415-6A21-2E49-A058-D443F991EEAB}" type="slidenum">
              <a:rPr lang="da-DK" b="0" i="0" smtClean="0">
                <a:latin typeface="Arial" panose="020B0604020202020204" pitchFamily="34" charset="0"/>
              </a:rPr>
              <a:pPr/>
              <a:t>‹#›</a:t>
            </a:fld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6" name="Pladsholder til indhold 6">
            <a:extLst>
              <a:ext uri="{FF2B5EF4-FFF2-40B4-BE49-F238E27FC236}">
                <a16:creationId xmlns:a16="http://schemas.microsoft.com/office/drawing/2014/main" id="{F520E249-E551-2211-DEB5-08A56958E64E}"/>
              </a:ext>
            </a:extLst>
          </p:cNvPr>
          <p:cNvSpPr>
            <a:spLocks noGrp="1" noChangeAspect="1"/>
          </p:cNvSpPr>
          <p:nvPr>
            <p:ph sz="quarter" idx="14" hasCustomPrompt="1"/>
          </p:nvPr>
        </p:nvSpPr>
        <p:spPr>
          <a:xfrm>
            <a:off x="5159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8C236FEF-CDAE-170A-E385-998A41D9C8E7}"/>
              </a:ext>
            </a:extLst>
          </p:cNvPr>
          <p:cNvSpPr>
            <a:spLocks noGrp="1" noChangeAspect="1"/>
          </p:cNvSpPr>
          <p:nvPr>
            <p:ph sz="quarter" idx="15" hasCustomPrompt="1"/>
          </p:nvPr>
        </p:nvSpPr>
        <p:spPr>
          <a:xfrm>
            <a:off x="277018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41E94D16-2920-1480-B842-D6E49514B97E}"/>
              </a:ext>
            </a:extLst>
          </p:cNvPr>
          <p:cNvSpPr>
            <a:spLocks noGrp="1" noChangeAspect="1"/>
          </p:cNvSpPr>
          <p:nvPr>
            <p:ph sz="quarter" idx="16" hasCustomPrompt="1"/>
          </p:nvPr>
        </p:nvSpPr>
        <p:spPr>
          <a:xfrm>
            <a:off x="50244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9" name="Pladsholder til indhold 6">
            <a:extLst>
              <a:ext uri="{FF2B5EF4-FFF2-40B4-BE49-F238E27FC236}">
                <a16:creationId xmlns:a16="http://schemas.microsoft.com/office/drawing/2014/main" id="{E2C8F437-1324-DB2D-99AE-0CAAA9F59CE3}"/>
              </a:ext>
            </a:extLst>
          </p:cNvPr>
          <p:cNvSpPr>
            <a:spLocks noGrp="1" noChangeAspect="1"/>
          </p:cNvSpPr>
          <p:nvPr>
            <p:ph sz="quarter" idx="17" hasCustomPrompt="1"/>
          </p:nvPr>
        </p:nvSpPr>
        <p:spPr>
          <a:xfrm>
            <a:off x="727868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10" name="Pladsholder til indhold 6">
            <a:extLst>
              <a:ext uri="{FF2B5EF4-FFF2-40B4-BE49-F238E27FC236}">
                <a16:creationId xmlns:a16="http://schemas.microsoft.com/office/drawing/2014/main" id="{426B4731-5D4E-0A5D-7106-D71B4A7FB52F}"/>
              </a:ext>
            </a:extLst>
          </p:cNvPr>
          <p:cNvSpPr>
            <a:spLocks noGrp="1" noChangeAspect="1"/>
          </p:cNvSpPr>
          <p:nvPr>
            <p:ph sz="quarter" idx="18" hasCustomPrompt="1"/>
          </p:nvPr>
        </p:nvSpPr>
        <p:spPr>
          <a:xfrm>
            <a:off x="95329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pic>
        <p:nvPicPr>
          <p:cNvPr id="11" name="Picture 20">
            <a:extLst>
              <a:ext uri="{FF2B5EF4-FFF2-40B4-BE49-F238E27FC236}">
                <a16:creationId xmlns:a16="http://schemas.microsoft.com/office/drawing/2014/main" id="{35F2F373-99F1-B67D-469C-72BDE2BC30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C6CC2CAA-95A4-2DB7-50BD-CA9F7DC33E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861A59AC-2127-92A8-6FBE-F5EC0EC06A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10140" y="3328407"/>
            <a:ext cx="1371719" cy="20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7667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4E764CBE-A6B9-A945-6A3E-F9D71A80F56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>
            <a:lvl1pPr>
              <a:defRPr b="0" i="0"/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LIGHT </a:t>
            </a:r>
            <a:r>
              <a:rPr lang="da-DK" err="1"/>
              <a:t>background</a:t>
            </a:r>
            <a:r>
              <a:rPr lang="da-DK"/>
              <a:t> </a:t>
            </a:r>
            <a:r>
              <a:rPr lang="da-DK" err="1"/>
              <a:t>picture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316468"/>
            <a:ext cx="11197703" cy="1230337"/>
          </a:xfrm>
        </p:spPr>
        <p:txBody>
          <a:bodyPr anchor="b"/>
          <a:lstStyle>
            <a:lvl1pPr algn="l">
              <a:lnSpc>
                <a:spcPts val="9000"/>
              </a:lnSpc>
              <a:defRPr sz="1200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79F4468-C1FF-64B0-EF4F-D5E6B4F738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510547"/>
            <a:ext cx="7776292" cy="1071880"/>
          </a:xfrm>
        </p:spPr>
        <p:txBody>
          <a:bodyPr/>
          <a:lstStyle>
            <a:lvl1pPr marL="0" indent="0" algn="l">
              <a:buNone/>
              <a:defRPr sz="1800" b="0" i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title</a:t>
            </a:r>
            <a:r>
              <a:rPr lang="da-DK"/>
              <a:t> or date</a:t>
            </a:r>
          </a:p>
        </p:txBody>
      </p:sp>
      <p:sp>
        <p:nvSpPr>
          <p:cNvPr id="4" name="Logo Placeholder 9">
            <a:extLst>
              <a:ext uri="{FF2B5EF4-FFF2-40B4-BE49-F238E27FC236}">
                <a16:creationId xmlns:a16="http://schemas.microsoft.com/office/drawing/2014/main" id="{F158071A-D44A-20E1-CF4E-1E9FD6C17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1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93537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el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4E764CBE-A6B9-A945-6A3E-F9D71A80F56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>
            <a:lvl1pPr>
              <a:defRPr b="0" i="1"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DARK </a:t>
            </a:r>
            <a:r>
              <a:rPr lang="da-DK" err="1"/>
              <a:t>background</a:t>
            </a:r>
            <a:r>
              <a:rPr lang="da-DK"/>
              <a:t> </a:t>
            </a:r>
            <a:r>
              <a:rPr lang="da-DK" err="1"/>
              <a:t>picture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316468"/>
            <a:ext cx="11197703" cy="1230337"/>
          </a:xfrm>
        </p:spPr>
        <p:txBody>
          <a:bodyPr anchor="b"/>
          <a:lstStyle>
            <a:lvl1pPr algn="l">
              <a:lnSpc>
                <a:spcPts val="9000"/>
              </a:lnSpc>
              <a:defRPr sz="12000">
                <a:solidFill>
                  <a:schemeClr val="bg2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79F4468-C1FF-64B0-EF4F-D5E6B4F738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510547"/>
            <a:ext cx="7776292" cy="1071880"/>
          </a:xfrm>
        </p:spPr>
        <p:txBody>
          <a:bodyPr/>
          <a:lstStyle>
            <a:lvl1pPr marL="0" indent="0" algn="l">
              <a:buNone/>
              <a:defRPr sz="1800" b="0" i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title</a:t>
            </a:r>
            <a:r>
              <a:rPr lang="da-DK"/>
              <a:t> or date</a:t>
            </a:r>
          </a:p>
        </p:txBody>
      </p:sp>
      <p:sp>
        <p:nvSpPr>
          <p:cNvPr id="7" name="Logo Placeholder 9">
            <a:extLst>
              <a:ext uri="{FF2B5EF4-FFF2-40B4-BE49-F238E27FC236}">
                <a16:creationId xmlns:a16="http://schemas.microsoft.com/office/drawing/2014/main" id="{76B89C13-DE2E-EE02-3A19-0081F79616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1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40161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og indholdsobjek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">
            <a:extLst>
              <a:ext uri="{FF2B5EF4-FFF2-40B4-BE49-F238E27FC236}">
                <a16:creationId xmlns:a16="http://schemas.microsoft.com/office/drawing/2014/main" id="{D17F83DC-ACEC-4D00-6DB7-3D386835EC7F}"/>
              </a:ext>
            </a:extLst>
          </p:cNvPr>
          <p:cNvSpPr/>
          <p:nvPr userDrawn="1"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noProof="0">
              <a:solidFill>
                <a:schemeClr val="bg1"/>
              </a:solidFill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616488"/>
            <a:ext cx="3319792" cy="1190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48267" y="597853"/>
            <a:ext cx="6827796" cy="5494972"/>
          </a:xfrm>
        </p:spPr>
        <p:txBody>
          <a:bodyPr/>
          <a:lstStyle>
            <a:lvl1pPr>
              <a:spcBef>
                <a:spcPts val="2200"/>
              </a:spcBef>
              <a:defRPr sz="2000" b="0" i="0">
                <a:solidFill>
                  <a:schemeClr val="accent2"/>
                </a:solidFill>
                <a:latin typeface="GT Walsheim Pro Bold" pitchFamily="2" charset="77"/>
              </a:defRPr>
            </a:lvl1pPr>
            <a:lvl2pPr marL="936625" indent="-927100">
              <a:tabLst/>
              <a:defRPr sz="1400" b="0" i="0" cap="none" baseline="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</a:t>
            </a:r>
            <a:r>
              <a:rPr lang="da-DK" err="1"/>
              <a:t>level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1"/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F49CE98-5C0F-6A0E-A834-D3EF471185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441198"/>
            <a:ext cx="525018" cy="525018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46F5DF65-2BC0-5840-917D-D0D510C4BF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1251200"/>
            <a:ext cx="525018" cy="52501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B7E3642-841F-9DFE-9ABC-FF23384B0F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2061202"/>
            <a:ext cx="525018" cy="525018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FAA6F554-3A96-ABD7-B97D-841A1603D1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2871204"/>
            <a:ext cx="525018" cy="52501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1D7DCDA9-9CE2-76DB-7D21-1FADAD6BF5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3681206"/>
            <a:ext cx="525018" cy="52501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03E9F417-1914-6936-820E-AC8C357033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4491208"/>
            <a:ext cx="525018" cy="52501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F7D10C6-48F9-6F1E-E6D3-9F3C266AC8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151915" y="5301208"/>
            <a:ext cx="525018" cy="525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644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9764CE5A-FEFC-FD55-E2F0-E4E53181C8A7}"/>
              </a:ext>
            </a:extLst>
          </p:cNvPr>
          <p:cNvSpPr/>
          <p:nvPr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noProof="0">
              <a:solidFill>
                <a:schemeClr val="bg1"/>
              </a:solidFill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619825"/>
            <a:ext cx="3366515" cy="1748621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287520" y="0"/>
            <a:ext cx="7898903" cy="6858000"/>
          </a:xfrm>
          <a:ln>
            <a:noFill/>
          </a:ln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3396495" cy="2636837"/>
          </a:xfrm>
        </p:spPr>
        <p:txBody>
          <a:bodyPr anchor="b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53437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 og indholdsobjek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00F0E8E2-F8DC-2271-A863-DF672E5C22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pic>
        <p:nvPicPr>
          <p:cNvPr id="4" name="Billede 4">
            <a:extLst>
              <a:ext uri="{FF2B5EF4-FFF2-40B4-BE49-F238E27FC236}">
                <a16:creationId xmlns:a16="http://schemas.microsoft.com/office/drawing/2014/main" id="{90B1529D-6E22-99F6-9369-FE47FAC0BB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BEB27C3-72A2-5D4A-9AA8-1FA1F965A8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122045"/>
            <a:ext cx="11160125" cy="384175"/>
          </a:xfrm>
        </p:spPr>
        <p:txBody>
          <a:bodyPr/>
          <a:lstStyle>
            <a:lvl1pPr>
              <a:defRPr sz="2000" b="0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</a:t>
            </a:r>
          </a:p>
        </p:txBody>
      </p:sp>
    </p:spTree>
    <p:extLst>
      <p:ext uri="{BB962C8B-B14F-4D97-AF65-F5344CB8AC3E}">
        <p14:creationId xmlns:p14="http://schemas.microsoft.com/office/powerpoint/2010/main" val="263703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_General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E18CD8-620D-4E7F-998A-1C89FB95605F}" type="datetime1">
              <a:rPr lang="en-GB" smtClean="0"/>
              <a:t>19/06/2024</a:t>
            </a:fld>
            <a:endParaRPr lang="en-US"/>
          </a:p>
        </p:txBody>
      </p:sp>
      <p:sp>
        <p:nvSpPr>
          <p:cNvPr id="4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6192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320914-BF76-4E59-EA76-E76A44BBAE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6FA621F-F8FC-407F-36EC-CE2B68BF1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t>‹#›</a:t>
            </a:fld>
            <a:endParaRPr lang="da-DK"/>
          </a:p>
        </p:txBody>
      </p:sp>
      <p:sp>
        <p:nvSpPr>
          <p:cNvPr id="3" name="Pladsholder til tekst 4">
            <a:extLst>
              <a:ext uri="{FF2B5EF4-FFF2-40B4-BE49-F238E27FC236}">
                <a16:creationId xmlns:a16="http://schemas.microsoft.com/office/drawing/2014/main" id="{FEF08FA9-97AD-E066-C97C-ABD74D6F58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122045"/>
            <a:ext cx="11160125" cy="384175"/>
          </a:xfrm>
        </p:spPr>
        <p:txBody>
          <a:bodyPr/>
          <a:lstStyle>
            <a:lvl1pPr>
              <a:defRPr sz="2000" cap="all" baseline="0">
                <a:solidFill>
                  <a:schemeClr val="accent1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</a:t>
            </a:r>
          </a:p>
        </p:txBody>
      </p:sp>
    </p:spTree>
    <p:extLst>
      <p:ext uri="{BB962C8B-B14F-4D97-AF65-F5344CB8AC3E}">
        <p14:creationId xmlns:p14="http://schemas.microsoft.com/office/powerpoint/2010/main" val="92346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0"/>
            <a:ext cx="12192000" cy="1330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0276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billede 5">
            <a:extLst>
              <a:ext uri="{FF2B5EF4-FFF2-40B4-BE49-F238E27FC236}">
                <a16:creationId xmlns:a16="http://schemas.microsoft.com/office/drawing/2014/main" id="{3CE9675E-2253-8A3D-7E2F-1EA744EE4CD8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>
            <a:lvl1pPr>
              <a:defRPr sz="1000" b="0" i="1"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LIGHT </a:t>
            </a:r>
            <a:r>
              <a:rPr lang="da-DK" err="1"/>
              <a:t>background</a:t>
            </a:r>
            <a:r>
              <a:rPr lang="da-DK"/>
              <a:t> </a:t>
            </a:r>
            <a:r>
              <a:rPr lang="da-DK" err="1"/>
              <a:t>picture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110514"/>
            <a:ext cx="11197703" cy="1436291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ts val="56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0" baseline="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79F4468-C1FF-64B0-EF4F-D5E6B4F738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648632"/>
            <a:ext cx="7776292" cy="444194"/>
          </a:xfrm>
        </p:spPr>
        <p:txBody>
          <a:bodyPr/>
          <a:lstStyle>
            <a:lvl1pPr marL="0" indent="0" algn="l">
              <a:buNone/>
              <a:defRPr sz="1400" b="0" i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title</a:t>
            </a:r>
            <a:r>
              <a:rPr lang="da-DK"/>
              <a:t> or date</a:t>
            </a:r>
          </a:p>
        </p:txBody>
      </p:sp>
      <p:sp>
        <p:nvSpPr>
          <p:cNvPr id="4" name="Logo Placeholder 9">
            <a:extLst>
              <a:ext uri="{FF2B5EF4-FFF2-40B4-BE49-F238E27FC236}">
                <a16:creationId xmlns:a16="http://schemas.microsoft.com/office/drawing/2014/main" id="{F158071A-D44A-20E1-CF4E-1E9FD6C17E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1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32258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el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4E764CBE-A6B9-A945-6A3E-F9D71A80F56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ln>
            <a:noFill/>
          </a:ln>
        </p:spPr>
        <p:txBody>
          <a:bodyPr bIns="648000" anchor="ctr" anchorCtr="1"/>
          <a:lstStyle>
            <a:lvl1pPr>
              <a:defRPr sz="1000" b="0" i="1"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</a:t>
            </a:r>
            <a:r>
              <a:rPr lang="da-DK" err="1"/>
              <a:t>icon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DARK </a:t>
            </a:r>
            <a:r>
              <a:rPr lang="da-DK" err="1"/>
              <a:t>background</a:t>
            </a:r>
            <a:r>
              <a:rPr lang="da-DK"/>
              <a:t> </a:t>
            </a:r>
            <a:r>
              <a:rPr lang="da-DK" err="1"/>
              <a:t>picture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4388BB8-F273-C7C4-E45D-56D6F16B89A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8359" y="4059218"/>
            <a:ext cx="11197703" cy="1487587"/>
          </a:xfrm>
        </p:spPr>
        <p:txBody>
          <a:bodyPr anchor="b"/>
          <a:lstStyle>
            <a:lvl1pPr algn="l">
              <a:lnSpc>
                <a:spcPts val="5600"/>
              </a:lnSpc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br>
              <a:rPr lang="da-DK"/>
            </a:b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7" name="Logo Placeholder 9">
            <a:extLst>
              <a:ext uri="{FF2B5EF4-FFF2-40B4-BE49-F238E27FC236}">
                <a16:creationId xmlns:a16="http://schemas.microsoft.com/office/drawing/2014/main" id="{76B89C13-DE2E-EE02-3A19-0081F796166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5938" y="488271"/>
            <a:ext cx="1616400" cy="9648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 b="0" i="1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" name="Undertitel 2">
            <a:extLst>
              <a:ext uri="{FF2B5EF4-FFF2-40B4-BE49-F238E27FC236}">
                <a16:creationId xmlns:a16="http://schemas.microsoft.com/office/drawing/2014/main" id="{59C46F6D-F34F-A91C-CF04-07D898A9A1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938" y="5648632"/>
            <a:ext cx="7776292" cy="444194"/>
          </a:xfrm>
        </p:spPr>
        <p:txBody>
          <a:bodyPr/>
          <a:lstStyle>
            <a:lvl1pPr marL="0" indent="0" algn="l">
              <a:buNone/>
              <a:defRPr sz="1400" b="0" i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title</a:t>
            </a:r>
            <a:r>
              <a:rPr lang="da-DK"/>
              <a:t> or date</a:t>
            </a:r>
          </a:p>
        </p:txBody>
      </p:sp>
    </p:spTree>
    <p:extLst>
      <p:ext uri="{BB962C8B-B14F-4D97-AF65-F5344CB8AC3E}">
        <p14:creationId xmlns:p14="http://schemas.microsoft.com/office/powerpoint/2010/main" val="1874444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el og indholdsobjek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">
            <a:extLst>
              <a:ext uri="{FF2B5EF4-FFF2-40B4-BE49-F238E27FC236}">
                <a16:creationId xmlns:a16="http://schemas.microsoft.com/office/drawing/2014/main" id="{D17F83DC-ACEC-4D00-6DB7-3D386835EC7F}"/>
              </a:ext>
            </a:extLst>
          </p:cNvPr>
          <p:cNvSpPr/>
          <p:nvPr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0" noProof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452912"/>
            <a:ext cx="3319792" cy="1190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48267" y="544063"/>
            <a:ext cx="6827796" cy="5494972"/>
          </a:xfrm>
        </p:spPr>
        <p:txBody>
          <a:bodyPr/>
          <a:lstStyle>
            <a:lvl1pPr>
              <a:spcBef>
                <a:spcPts val="2200"/>
              </a:spcBef>
              <a:defRPr sz="2000" b="1" i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936625" indent="-927100">
              <a:tabLst/>
              <a:defRPr sz="1400" b="0" i="0" cap="none" baseline="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1"/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6F0F0BDF-BEE2-1699-FD3E-530882D90D2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155328" y="416498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9" name="Pladsholder til indhold 4">
            <a:extLst>
              <a:ext uri="{FF2B5EF4-FFF2-40B4-BE49-F238E27FC236}">
                <a16:creationId xmlns:a16="http://schemas.microsoft.com/office/drawing/2014/main" id="{D1E97D3D-E3A9-38CA-71EC-F0BC8CE5388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155328" y="1226134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0" name="Pladsholder til indhold 4">
            <a:extLst>
              <a:ext uri="{FF2B5EF4-FFF2-40B4-BE49-F238E27FC236}">
                <a16:creationId xmlns:a16="http://schemas.microsoft.com/office/drawing/2014/main" id="{3D34BDAD-16A9-A94A-C4A9-3916CA1A8EE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155328" y="2035770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indhold 4">
            <a:extLst>
              <a:ext uri="{FF2B5EF4-FFF2-40B4-BE49-F238E27FC236}">
                <a16:creationId xmlns:a16="http://schemas.microsoft.com/office/drawing/2014/main" id="{EEC7686E-0A5A-431B-2817-4810F65C398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155328" y="2845406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indhold 4">
            <a:extLst>
              <a:ext uri="{FF2B5EF4-FFF2-40B4-BE49-F238E27FC236}">
                <a16:creationId xmlns:a16="http://schemas.microsoft.com/office/drawing/2014/main" id="{062FF6CE-1384-5A75-7EBC-9B3ADF1F4A1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155328" y="3655042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3" name="Pladsholder til indhold 4">
            <a:extLst>
              <a:ext uri="{FF2B5EF4-FFF2-40B4-BE49-F238E27FC236}">
                <a16:creationId xmlns:a16="http://schemas.microsoft.com/office/drawing/2014/main" id="{5DE38226-7B0C-8B45-15E9-12DF80D7F71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155328" y="4464678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indhold 4">
            <a:extLst>
              <a:ext uri="{FF2B5EF4-FFF2-40B4-BE49-F238E27FC236}">
                <a16:creationId xmlns:a16="http://schemas.microsoft.com/office/drawing/2014/main" id="{BC9D7658-1382-A017-F44E-577ED3F51C4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155328" y="5274313"/>
            <a:ext cx="517040" cy="531968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22A7E92-731B-7579-2616-19107FE3B14C}"/>
              </a:ext>
            </a:extLst>
          </p:cNvPr>
          <p:cNvSpPr/>
          <p:nvPr userDrawn="1"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0" noProof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1704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 og indholdsobjek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3999" y="452912"/>
            <a:ext cx="11172063" cy="6412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/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515939" y="1700213"/>
            <a:ext cx="11160126" cy="4392613"/>
          </a:xfrm>
        </p:spPr>
        <p:txBody>
          <a:bodyPr numCol="2"/>
          <a:lstStyle>
            <a:lvl1pPr>
              <a:spcBef>
                <a:spcPts val="1600"/>
              </a:spcBef>
              <a:defRPr sz="2000" b="1" i="0">
                <a:solidFill>
                  <a:schemeClr val="accent2"/>
                </a:solidFill>
                <a:latin typeface="Arial" panose="020B0604020202020204" pitchFamily="34" charset="0"/>
              </a:defRPr>
            </a:lvl1pPr>
            <a:lvl2pPr marL="936625" indent="0">
              <a:tabLst/>
              <a:defRPr sz="1400" b="0" i="0" cap="none" baseline="0">
                <a:solidFill>
                  <a:schemeClr val="tx1"/>
                </a:solidFill>
              </a:defRPr>
            </a:lvl2pPr>
            <a:lvl3pPr>
              <a:defRPr sz="20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08.00	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0"/>
            <a:r>
              <a:rPr lang="da-DK"/>
              <a:t>10.15	FIRST LEV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73285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452912"/>
            <a:ext cx="11160125" cy="417182"/>
          </a:xfrm>
        </p:spPr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2ACA9BA9-37BB-E578-789F-EFDEEB8344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387499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DF1E1D36-AF82-D3D7-2A46-DA13A0F26E2E}"/>
              </a:ext>
            </a:extLst>
          </p:cNvPr>
          <p:cNvSpPr/>
          <p:nvPr/>
        </p:nvSpPr>
        <p:spPr>
          <a:xfrm>
            <a:off x="0" y="0"/>
            <a:ext cx="287382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523423"/>
            <a:ext cx="2084759" cy="2508000"/>
          </a:xfrm>
        </p:spPr>
        <p:txBody>
          <a:bodyPr/>
          <a:lstStyle>
            <a:lvl1pPr>
              <a:lnSpc>
                <a:spcPts val="3200"/>
              </a:lnSpc>
              <a:defRPr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3313216" y="584200"/>
            <a:ext cx="8362846" cy="5492555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2179637" cy="2636837"/>
          </a:xfrm>
        </p:spPr>
        <p:txBody>
          <a:bodyPr anchor="b" anchorCtr="0"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1836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44E3B931-B4F4-7765-DE97-E06544D9122A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0" y="0"/>
            <a:ext cx="4291013" cy="6858000"/>
          </a:xfrm>
        </p:spPr>
        <p:txBody>
          <a:bodyPr bIns="972000" anchor="ctr" anchorCtr="1"/>
          <a:lstStyle>
            <a:lvl1pPr>
              <a:defRPr b="0" i="0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764CE5A-FEFC-FD55-E2F0-E4E53181C8A7}"/>
              </a:ext>
            </a:extLst>
          </p:cNvPr>
          <p:cNvSpPr/>
          <p:nvPr/>
        </p:nvSpPr>
        <p:spPr>
          <a:xfrm>
            <a:off x="4296427" y="0"/>
            <a:ext cx="7895574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noProof="0">
              <a:solidFill>
                <a:schemeClr val="bg1"/>
              </a:solidFill>
              <a:latin typeface="GT Walsheim Pro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2655" y="619826"/>
            <a:ext cx="6846155" cy="997960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29908" y="1700213"/>
            <a:ext cx="6846155" cy="4392612"/>
          </a:xfrm>
          <a:ln>
            <a:noFill/>
          </a:ln>
        </p:spPr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9" name="Billede 4">
            <a:extLst>
              <a:ext uri="{FF2B5EF4-FFF2-40B4-BE49-F238E27FC236}">
                <a16:creationId xmlns:a16="http://schemas.microsoft.com/office/drawing/2014/main" id="{E3B9C3F1-C979-5D87-0291-874DFFD069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05A61DA8-3761-2474-5FA5-50DD884EF3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13540" y="1122045"/>
            <a:ext cx="6862523" cy="430710"/>
          </a:xfrm>
        </p:spPr>
        <p:txBody>
          <a:bodyPr/>
          <a:lstStyle>
            <a:lvl1pPr>
              <a:defRPr sz="2000" b="0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</a:t>
            </a:r>
          </a:p>
        </p:txBody>
      </p:sp>
    </p:spTree>
    <p:extLst>
      <p:ext uri="{BB962C8B-B14F-4D97-AF65-F5344CB8AC3E}">
        <p14:creationId xmlns:p14="http://schemas.microsoft.com/office/powerpoint/2010/main" val="349444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DF1E1D36-AF82-D3D7-2A46-DA13A0F26E2E}"/>
              </a:ext>
            </a:extLst>
          </p:cNvPr>
          <p:cNvSpPr/>
          <p:nvPr/>
        </p:nvSpPr>
        <p:spPr>
          <a:xfrm>
            <a:off x="0" y="0"/>
            <a:ext cx="287382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514955"/>
            <a:ext cx="2084759" cy="2664883"/>
          </a:xfrm>
        </p:spPr>
        <p:txBody>
          <a:bodyPr/>
          <a:lstStyle>
            <a:lvl1pPr>
              <a:lnSpc>
                <a:spcPts val="32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3313216" y="584200"/>
            <a:ext cx="8362846" cy="5492555"/>
          </a:xfrm>
        </p:spPr>
        <p:txBody>
          <a:bodyPr/>
          <a:lstStyle>
            <a:lvl1pPr>
              <a:defRPr b="0" i="0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2179637" cy="2636837"/>
          </a:xfrm>
        </p:spPr>
        <p:txBody>
          <a:bodyPr anchor="b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066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9764CE5A-FEFC-FD55-E2F0-E4E53181C8A7}"/>
              </a:ext>
            </a:extLst>
          </p:cNvPr>
          <p:cNvSpPr/>
          <p:nvPr/>
        </p:nvSpPr>
        <p:spPr>
          <a:xfrm>
            <a:off x="0" y="0"/>
            <a:ext cx="4288221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0" noProof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514956"/>
            <a:ext cx="3366515" cy="2364562"/>
          </a:xfrm>
        </p:spPr>
        <p:txBody>
          <a:bodyPr/>
          <a:lstStyle>
            <a:lvl1pPr>
              <a:lnSpc>
                <a:spcPts val="32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287520" y="0"/>
            <a:ext cx="7898903" cy="6858000"/>
          </a:xfrm>
          <a:ln>
            <a:noFill/>
          </a:ln>
        </p:spPr>
        <p:txBody>
          <a:bodyPr bIns="1440000" anchor="ctr" anchorCtr="0"/>
          <a:lstStyle>
            <a:lvl1pPr algn="ctr">
              <a:defRPr sz="1000" b="0" i="1"/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51D089E-4CC1-D831-434C-C3E1B378D2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455988"/>
            <a:ext cx="3396495" cy="2636837"/>
          </a:xfrm>
        </p:spPr>
        <p:txBody>
          <a:bodyPr anchor="b" anchorCtr="0"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9343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44E3B931-B4F4-7765-DE97-E06544D9122A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0" y="0"/>
            <a:ext cx="4291013" cy="6858000"/>
          </a:xfrm>
        </p:spPr>
        <p:txBody>
          <a:bodyPr bIns="972000" anchor="ctr" anchorCtr="1"/>
          <a:lstStyle>
            <a:lvl1pPr>
              <a:defRPr sz="1000" b="0" i="1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9764CE5A-FEFC-FD55-E2F0-E4E53181C8A7}"/>
              </a:ext>
            </a:extLst>
          </p:cNvPr>
          <p:cNvSpPr/>
          <p:nvPr/>
        </p:nvSpPr>
        <p:spPr>
          <a:xfrm>
            <a:off x="4296427" y="0"/>
            <a:ext cx="7895574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a-DK" sz="1200" b="0" i="0" noProof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189" y="467000"/>
            <a:ext cx="6880622" cy="499906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29908" y="1700213"/>
            <a:ext cx="6846155" cy="4392612"/>
          </a:xfrm>
          <a:ln>
            <a:noFill/>
          </a:ln>
        </p:spPr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9" name="Billede 4">
            <a:extLst>
              <a:ext uri="{FF2B5EF4-FFF2-40B4-BE49-F238E27FC236}">
                <a16:creationId xmlns:a16="http://schemas.microsoft.com/office/drawing/2014/main" id="{E3B9C3F1-C979-5D87-0291-874DFFD069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11B559B2-D24A-8A87-C32E-0806FA38A1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5082" y="1034957"/>
            <a:ext cx="6870981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CD37FF50-AC16-C7BD-E443-AC32C1AA29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33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>
            <a:extLst>
              <a:ext uri="{FF2B5EF4-FFF2-40B4-BE49-F238E27FC236}">
                <a16:creationId xmlns:a16="http://schemas.microsoft.com/office/drawing/2014/main" id="{44E3B931-B4F4-7765-DE97-E06544D9122A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0" y="0"/>
            <a:ext cx="4291013" cy="6858000"/>
          </a:xfrm>
          <a:solidFill>
            <a:schemeClr val="bg2"/>
          </a:solidFill>
        </p:spPr>
        <p:txBody>
          <a:bodyPr bIns="972000" anchor="ctr" anchorCtr="1"/>
          <a:lstStyle>
            <a:lvl1pPr>
              <a:defRPr sz="1000" b="0" i="1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78189" y="467000"/>
            <a:ext cx="6880622" cy="530594"/>
          </a:xfrm>
        </p:spPr>
        <p:txBody>
          <a:bodyPr/>
          <a:lstStyle>
            <a:lvl1pPr>
              <a:lnSpc>
                <a:spcPts val="4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>
          <a:xfrm>
            <a:off x="4829908" y="1700213"/>
            <a:ext cx="6846155" cy="4392612"/>
          </a:xfrm>
          <a:ln>
            <a:noFill/>
          </a:ln>
        </p:spPr>
        <p:txBody>
          <a:bodyPr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1AA8F475-C973-5DAC-12ED-EC2300E432F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05082" y="1034957"/>
            <a:ext cx="6870981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4285552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0"/>
            <a:ext cx="12192000" cy="1330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35BEF7C2-4D16-5F9E-DAB9-03BD494D22F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3253129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hf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82C741D-912E-2666-25A5-5CC1214E5065}"/>
              </a:ext>
            </a:extLst>
          </p:cNvPr>
          <p:cNvSpPr/>
          <p:nvPr/>
        </p:nvSpPr>
        <p:spPr>
          <a:xfrm>
            <a:off x="0" y="-1"/>
            <a:ext cx="12192000" cy="151108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/>
            </a:lvl1pPr>
            <a:lvl2pPr>
              <a:defRPr b="0" i="0"/>
            </a:lvl2pPr>
            <a:lvl3pPr>
              <a:defRPr b="0" i="0"/>
            </a:lvl3pPr>
            <a:lvl4pPr>
              <a:defRPr b="0" i="0"/>
            </a:lvl4pPr>
            <a:lvl5pPr>
              <a:defRPr b="0" i="0"/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6" name="Pladsholder til tekst 4">
            <a:extLst>
              <a:ext uri="{FF2B5EF4-FFF2-40B4-BE49-F238E27FC236}">
                <a16:creationId xmlns:a16="http://schemas.microsoft.com/office/drawing/2014/main" id="{92032E86-710B-ED8B-E9C5-81FA1D6F0C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378853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el og indholdsobjek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00F0E8E2-F8DC-2271-A863-DF672E5C22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pic>
        <p:nvPicPr>
          <p:cNvPr id="4" name="Billede 4">
            <a:extLst>
              <a:ext uri="{FF2B5EF4-FFF2-40B4-BE49-F238E27FC236}">
                <a16:creationId xmlns:a16="http://schemas.microsoft.com/office/drawing/2014/main" id="{90B1529D-6E22-99F6-9369-FE47FAC0BB6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5ED60A69-247D-558D-5A0A-83B37D7444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14AFD737-8F4B-BD95-32EB-23E047BEA3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58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el og indholdsobjekt">
    <p:bg>
      <p:bgPr>
        <a:gradFill flip="none" rotWithShape="1">
          <a:gsLst>
            <a:gs pos="0">
              <a:schemeClr val="tx1"/>
            </a:gs>
            <a:gs pos="50000">
              <a:schemeClr val="tx1">
                <a:lumMod val="94000"/>
                <a:lumOff val="6000"/>
              </a:schemeClr>
            </a:gs>
            <a:gs pos="100000">
              <a:schemeClr val="accent2">
                <a:lumMod val="68000"/>
              </a:schemeClr>
            </a:gs>
          </a:gsLst>
          <a:lin ang="4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C3AC15-CEB9-2DAD-854A-5CA84645F3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297182A-581B-DFF7-A828-C670F5C3E073}"/>
              </a:ext>
            </a:extLst>
          </p:cNvPr>
          <p:cNvSpPr>
            <a:spLocks noGrp="1" noChangeAspect="1"/>
          </p:cNvSpPr>
          <p:nvPr>
            <p:ph idx="1" hasCustomPrompt="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FEFAF05-C203-F413-02A7-1EB3928FE5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pic>
        <p:nvPicPr>
          <p:cNvPr id="6" name="Billede 4">
            <a:extLst>
              <a:ext uri="{FF2B5EF4-FFF2-40B4-BE49-F238E27FC236}">
                <a16:creationId xmlns:a16="http://schemas.microsoft.com/office/drawing/2014/main" id="{00F0E8E2-F8DC-2271-A863-DF672E5C22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pic>
        <p:nvPicPr>
          <p:cNvPr id="4" name="Billede 4">
            <a:extLst>
              <a:ext uri="{FF2B5EF4-FFF2-40B4-BE49-F238E27FC236}">
                <a16:creationId xmlns:a16="http://schemas.microsoft.com/office/drawing/2014/main" id="{EB0D3D71-B848-47CB-86AC-C0AB445C8E0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1F58D6B-3418-B013-6A33-D7E2DA6A4E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  <p:pic>
        <p:nvPicPr>
          <p:cNvPr id="8" name="Billede 4">
            <a:extLst>
              <a:ext uri="{FF2B5EF4-FFF2-40B4-BE49-F238E27FC236}">
                <a16:creationId xmlns:a16="http://schemas.microsoft.com/office/drawing/2014/main" id="{DA2689A9-3562-0FE3-2A7E-915D3BE8A2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64" t="21883" r="12021" b="41597"/>
          <a:stretch/>
        </p:blipFill>
        <p:spPr>
          <a:xfrm>
            <a:off x="10284031" y="6377049"/>
            <a:ext cx="1496292" cy="285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122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320914-BF76-4E59-EA76-E76A44BBAE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6FA621F-F8FC-407F-36EC-CE2B68BF13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t>‹#›</a:t>
            </a:fld>
            <a:endParaRPr lang="da-DK"/>
          </a:p>
        </p:txBody>
      </p:sp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E04DEFA2-2B7C-1270-E053-054BEF1DB6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</p:spTree>
    <p:extLst>
      <p:ext uri="{BB962C8B-B14F-4D97-AF65-F5344CB8AC3E}">
        <p14:creationId xmlns:p14="http://schemas.microsoft.com/office/powerpoint/2010/main" val="2321606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24A745AC-2BEA-2FB5-B56F-F4C64709A71F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3357563"/>
            <a:ext cx="12192000" cy="3500437"/>
          </a:xfrm>
          <a:solidFill>
            <a:schemeClr val="bg2"/>
          </a:solidFill>
        </p:spPr>
        <p:txBody>
          <a:bodyPr tIns="684000" anchor="ctr" anchorCtr="1"/>
          <a:lstStyle>
            <a:lvl1pPr>
              <a:defRPr sz="1000" b="0" i="1"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photo</a:t>
            </a:r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2320914-BF76-4E59-EA76-E76A44BBAE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" name="Pladsholder til slidenummer 4">
            <a:extLst>
              <a:ext uri="{FF2B5EF4-FFF2-40B4-BE49-F238E27FC236}">
                <a16:creationId xmlns:a16="http://schemas.microsoft.com/office/drawing/2014/main" id="{1805C3DA-FB30-3CB2-AAAF-B3A0414E2D80}"/>
              </a:ext>
            </a:extLst>
          </p:cNvPr>
          <p:cNvSpPr txBox="1">
            <a:spLocks/>
          </p:cNvSpPr>
          <p:nvPr/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GT Walsheim Pro Ligh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BC3415-6A21-2E49-A058-D443F991EEAB}" type="slidenum">
              <a:rPr lang="da-DK" b="0" i="0" smtClean="0">
                <a:latin typeface="Arial" panose="020B0604020202020204" pitchFamily="34" charset="0"/>
              </a:rPr>
              <a:pPr/>
              <a:t>‹#›</a:t>
            </a:fld>
            <a:endParaRPr lang="da-DK" b="0" i="0">
              <a:latin typeface="Arial" panose="020B0604020202020204" pitchFamily="34" charset="0"/>
            </a:endParaRPr>
          </a:p>
        </p:txBody>
      </p:sp>
      <p:sp>
        <p:nvSpPr>
          <p:cNvPr id="6" name="Pladsholder til indhold 6">
            <a:extLst>
              <a:ext uri="{FF2B5EF4-FFF2-40B4-BE49-F238E27FC236}">
                <a16:creationId xmlns:a16="http://schemas.microsoft.com/office/drawing/2014/main" id="{F520E249-E551-2211-DEB5-08A56958E64E}"/>
              </a:ext>
            </a:extLst>
          </p:cNvPr>
          <p:cNvSpPr>
            <a:spLocks noGrp="1" noChangeAspect="1"/>
          </p:cNvSpPr>
          <p:nvPr>
            <p:ph sz="quarter" idx="14" hasCustomPrompt="1"/>
          </p:nvPr>
        </p:nvSpPr>
        <p:spPr>
          <a:xfrm>
            <a:off x="5159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8C236FEF-CDAE-170A-E385-998A41D9C8E7}"/>
              </a:ext>
            </a:extLst>
          </p:cNvPr>
          <p:cNvSpPr>
            <a:spLocks noGrp="1" noChangeAspect="1"/>
          </p:cNvSpPr>
          <p:nvPr>
            <p:ph sz="quarter" idx="15" hasCustomPrompt="1"/>
          </p:nvPr>
        </p:nvSpPr>
        <p:spPr>
          <a:xfrm>
            <a:off x="277018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8" name="Pladsholder til indhold 6">
            <a:extLst>
              <a:ext uri="{FF2B5EF4-FFF2-40B4-BE49-F238E27FC236}">
                <a16:creationId xmlns:a16="http://schemas.microsoft.com/office/drawing/2014/main" id="{41E94D16-2920-1480-B842-D6E49514B97E}"/>
              </a:ext>
            </a:extLst>
          </p:cNvPr>
          <p:cNvSpPr>
            <a:spLocks noGrp="1" noChangeAspect="1"/>
          </p:cNvSpPr>
          <p:nvPr>
            <p:ph sz="quarter" idx="16" hasCustomPrompt="1"/>
          </p:nvPr>
        </p:nvSpPr>
        <p:spPr>
          <a:xfrm>
            <a:off x="50244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9" name="Pladsholder til indhold 6">
            <a:extLst>
              <a:ext uri="{FF2B5EF4-FFF2-40B4-BE49-F238E27FC236}">
                <a16:creationId xmlns:a16="http://schemas.microsoft.com/office/drawing/2014/main" id="{E2C8F437-1324-DB2D-99AE-0CAAA9F59CE3}"/>
              </a:ext>
            </a:extLst>
          </p:cNvPr>
          <p:cNvSpPr>
            <a:spLocks noGrp="1" noChangeAspect="1"/>
          </p:cNvSpPr>
          <p:nvPr>
            <p:ph sz="quarter" idx="17" hasCustomPrompt="1"/>
          </p:nvPr>
        </p:nvSpPr>
        <p:spPr>
          <a:xfrm>
            <a:off x="727868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sp>
        <p:nvSpPr>
          <p:cNvPr id="10" name="Pladsholder til indhold 6">
            <a:extLst>
              <a:ext uri="{FF2B5EF4-FFF2-40B4-BE49-F238E27FC236}">
                <a16:creationId xmlns:a16="http://schemas.microsoft.com/office/drawing/2014/main" id="{426B4731-5D4E-0A5D-7106-D71B4A7FB52F}"/>
              </a:ext>
            </a:extLst>
          </p:cNvPr>
          <p:cNvSpPr>
            <a:spLocks noGrp="1" noChangeAspect="1"/>
          </p:cNvSpPr>
          <p:nvPr>
            <p:ph sz="quarter" idx="18" hasCustomPrompt="1"/>
          </p:nvPr>
        </p:nvSpPr>
        <p:spPr>
          <a:xfrm>
            <a:off x="9532938" y="2279156"/>
            <a:ext cx="2143125" cy="2143125"/>
          </a:xfrm>
          <a:solidFill>
            <a:schemeClr val="tx1"/>
          </a:solidFill>
        </p:spPr>
        <p:txBody>
          <a:bodyPr lIns="108000" tIns="108000" rIns="108000" bIns="108000"/>
          <a:lstStyle>
            <a:lvl1pPr>
              <a:defRPr sz="1200" b="0" i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r>
              <a:rPr lang="da-DK"/>
              <a:t> or </a:t>
            </a:r>
            <a:r>
              <a:rPr lang="da-DK" err="1"/>
              <a:t>object</a:t>
            </a:r>
            <a:endParaRPr lang="da-DK"/>
          </a:p>
        </p:txBody>
      </p:sp>
      <p:pic>
        <p:nvPicPr>
          <p:cNvPr id="11" name="Picture 20">
            <a:extLst>
              <a:ext uri="{FF2B5EF4-FFF2-40B4-BE49-F238E27FC236}">
                <a16:creationId xmlns:a16="http://schemas.microsoft.com/office/drawing/2014/main" id="{35F2F373-99F1-B67D-469C-72BDE2BC309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C6CC2CAA-95A4-2DB7-50BD-CA9F7DC33E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1034957"/>
            <a:ext cx="11160125" cy="384175"/>
          </a:xfrm>
        </p:spPr>
        <p:txBody>
          <a:bodyPr/>
          <a:lstStyle>
            <a:lvl1pPr>
              <a:defRPr sz="1200" b="1" i="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ject</a:t>
            </a:r>
            <a:r>
              <a:rPr lang="da-DK"/>
              <a:t> line </a:t>
            </a: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861A59AC-2127-92A8-6FBE-F5EC0EC06A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0140" y="3328407"/>
            <a:ext cx="1371719" cy="201185"/>
          </a:xfrm>
          <a:prstGeom prst="rect">
            <a:avLst/>
          </a:prstGeom>
        </p:spPr>
      </p:pic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D7FAD46-8565-E9C8-F97D-D4A0A0985E4E}"/>
              </a:ext>
            </a:extLst>
          </p:cNvPr>
          <p:cNvSpPr txBox="1">
            <a:spLocks/>
          </p:cNvSpPr>
          <p:nvPr userDrawn="1"/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a-DK"/>
            </a:defPPr>
            <a:lvl1pPr marL="0" algn="l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GT Walsheim Pro Light" pitchFamily="2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3BC3415-6A21-2E49-A058-D443F991EEAB}" type="slidenum">
              <a:rPr lang="da-DK" b="0" i="0" smtClean="0">
                <a:latin typeface="Arial" panose="020B0604020202020204" pitchFamily="34" charset="0"/>
              </a:rPr>
              <a:pPr/>
              <a:t>‹#›</a:t>
            </a:fld>
            <a:endParaRPr lang="da-DK" b="0" i="0">
              <a:latin typeface="Arial" panose="020B0604020202020204" pitchFamily="34" charset="0"/>
            </a:endParaRPr>
          </a:p>
        </p:txBody>
      </p:sp>
      <p:pic>
        <p:nvPicPr>
          <p:cNvPr id="13" name="Picture 20">
            <a:extLst>
              <a:ext uri="{FF2B5EF4-FFF2-40B4-BE49-F238E27FC236}">
                <a16:creationId xmlns:a16="http://schemas.microsoft.com/office/drawing/2014/main" id="{104860DE-704B-2B4E-D95B-A38A502A41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5E79B4FA-3FCD-D31C-9BE0-8B0D507D86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10140" y="3328407"/>
            <a:ext cx="1371719" cy="20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769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0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47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6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19" Type="http://schemas.openxmlformats.org/officeDocument/2006/relationships/oleObject" Target="../embeddings/oleObject5.bin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81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80.xml"/><Relationship Id="rId9" Type="http://schemas.openxmlformats.org/officeDocument/2006/relationships/tags" Target="../tags/tag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86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oleObject" Target="../embeddings/oleObject7.bin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tags" Target="../tags/tag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106.xml"/><Relationship Id="rId21" Type="http://schemas.openxmlformats.org/officeDocument/2006/relationships/image" Target="../media/image13.emf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oleObject" Target="../embeddings/oleObject8.bin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13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F1130709-C4CF-EF2F-FB5A-A1FA5A3204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37712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47" imgH="348" progId="TCLayout.ActiveDocument.1">
                  <p:embed/>
                </p:oleObj>
              </mc:Choice>
              <mc:Fallback>
                <p:oleObj name="think-cell Slide" r:id="rId19" imgW="347" imgH="34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F1130709-C4CF-EF2F-FB5A-A1FA5A320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2089101-580D-6D23-4FDD-DE83592C7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616488"/>
            <a:ext cx="11160125" cy="530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styl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65E9EF6-FE8C-A34D-3D49-A14601E31A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725417"/>
            <a:ext cx="11160125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D77E3C4-6898-E0DA-4404-31D081157D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GT Walsheim Pro" panose="00000500000000000000" pitchFamily="50" charset="0"/>
              </a:defRPr>
            </a:lvl1pPr>
          </a:lstStyle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774A281-20E0-A8BD-73E6-4F33AD37CCB3}"/>
              </a:ext>
            </a:extLst>
          </p:cNvPr>
          <p:cNvSpPr txBox="1"/>
          <p:nvPr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>
              <a:latin typeface="GT Walsheim Pro" panose="00000500000000000000" pitchFamily="50" charset="0"/>
            </a:endParaRPr>
          </a:p>
        </p:txBody>
      </p:sp>
      <p:pic>
        <p:nvPicPr>
          <p:cNvPr id="5" name="Picture 20">
            <a:extLst>
              <a:ext uri="{FF2B5EF4-FFF2-40B4-BE49-F238E27FC236}">
                <a16:creationId xmlns:a16="http://schemas.microsoft.com/office/drawing/2014/main" id="{37C4570B-137D-38AC-984A-D66FE773319C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96C00EC5-5DB6-D4B1-5CEE-31E621E4C58D}"/>
              </a:ext>
            </a:extLst>
          </p:cNvPr>
          <p:cNvSpPr txBox="1"/>
          <p:nvPr userDrawn="1"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>
              <a:latin typeface="GT Walsheim Pro" panose="00000500000000000000" pitchFamily="50" charset="0"/>
            </a:endParaRPr>
          </a:p>
        </p:txBody>
      </p:sp>
      <p:pic>
        <p:nvPicPr>
          <p:cNvPr id="7" name="Picture 20">
            <a:extLst>
              <a:ext uri="{FF2B5EF4-FFF2-40B4-BE49-F238E27FC236}">
                <a16:creationId xmlns:a16="http://schemas.microsoft.com/office/drawing/2014/main" id="{44CDE296-6F5E-8B24-2D0E-AFE0F05D94B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467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701" r:id="rId15"/>
    <p:sldLayoutId id="2147483826" r:id="rId16"/>
  </p:sldLayoutIdLst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ts val="4000"/>
        </a:lnSpc>
        <a:spcBef>
          <a:spcPct val="0"/>
        </a:spcBef>
        <a:buNone/>
        <a:defRPr sz="4800" kern="1200" cap="all" baseline="0">
          <a:solidFill>
            <a:schemeClr val="tx1"/>
          </a:solidFill>
          <a:latin typeface="Knockout HTF48-Featherweight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25">
          <p15:clr>
            <a:srgbClr val="A4A3A4"/>
          </p15:clr>
        </p15:guide>
        <p15:guide id="7" pos="7355">
          <p15:clr>
            <a:srgbClr val="A4A3A4"/>
          </p15:clr>
        </p15:guide>
        <p15:guide id="8" orient="horz" pos="368">
          <p15:clr>
            <a:srgbClr val="FBAE40"/>
          </p15:clr>
        </p15:guide>
        <p15:guide id="9" orient="horz" pos="1071">
          <p15:clr>
            <a:srgbClr val="A4A3A4"/>
          </p15:clr>
        </p15:guide>
        <p15:guide id="10" orient="horz" pos="3838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10DC8B4-CA2B-2ACC-4D80-47885A6705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44079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0DC8B4-CA2B-2ACC-4D80-47885A6705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15EF20-D330-9C2C-2557-0460821F7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FC017A-1EC0-1883-DE3D-EA5B33BA77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45CDBC-AA56-7F6B-0F83-61D3741EE5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4DC746-556F-4D84-987F-C441F897276C}" type="datetimeFigureOut">
              <a:rPr lang="en-GB" smtClean="0"/>
              <a:t>19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168856-6305-A1F0-558B-8E114BE64D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D41744-E37A-B30A-83E2-E4D817EC5B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A36987-AF1A-4AC2-A74C-DFE63B1C15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012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231ACC1-976F-EB12-631E-5B8BFCA28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207262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47" imgH="348" progId="TCLayout.ActiveDocument.1">
                  <p:embed/>
                </p:oleObj>
              </mc:Choice>
              <mc:Fallback>
                <p:oleObj name="think-cell Slide" r:id="rId20" imgW="347" imgH="34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31ACC1-976F-EB12-631E-5B8BFCA28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2089101-580D-6D23-4FDD-DE83592C7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452912"/>
            <a:ext cx="11160125" cy="49738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styl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65E9EF6-FE8C-A34D-3D49-A14601E31A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725417"/>
            <a:ext cx="11160125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D77E3C4-6898-E0DA-4404-31D081157D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774A281-20E0-A8BD-73E6-4F33AD37CCB3}"/>
              </a:ext>
            </a:extLst>
          </p:cNvPr>
          <p:cNvSpPr txBox="1"/>
          <p:nvPr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>
              <a:latin typeface="Arial" panose="020B0604020202020204" pitchFamily="34" charset="0"/>
            </a:endParaRPr>
          </a:p>
        </p:txBody>
      </p:sp>
      <p:pic>
        <p:nvPicPr>
          <p:cNvPr id="5" name="Picture 20">
            <a:extLst>
              <a:ext uri="{FF2B5EF4-FFF2-40B4-BE49-F238E27FC236}">
                <a16:creationId xmlns:a16="http://schemas.microsoft.com/office/drawing/2014/main" id="{37C4570B-137D-38AC-984A-D66FE773319C}"/>
              </a:ext>
            </a:extLst>
          </p:cNvPr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96C00EC5-5DB6-D4B1-5CEE-31E621E4C58D}"/>
              </a:ext>
            </a:extLst>
          </p:cNvPr>
          <p:cNvSpPr txBox="1"/>
          <p:nvPr userDrawn="1"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>
              <a:latin typeface="Arial" panose="020B0604020202020204" pitchFamily="34" charset="0"/>
            </a:endParaRPr>
          </a:p>
        </p:txBody>
      </p:sp>
      <p:pic>
        <p:nvPicPr>
          <p:cNvPr id="7" name="Picture 20">
            <a:extLst>
              <a:ext uri="{FF2B5EF4-FFF2-40B4-BE49-F238E27FC236}">
                <a16:creationId xmlns:a16="http://schemas.microsoft.com/office/drawing/2014/main" id="{44CDE296-6F5E-8B24-2D0E-AFE0F05D94BD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00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844" r:id="rId17"/>
  </p:sldLayoutIdLst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ts val="4200"/>
        </a:lnSpc>
        <a:spcBef>
          <a:spcPct val="0"/>
        </a:spcBef>
        <a:buNone/>
        <a:defRPr sz="3000" b="1" kern="1200" cap="all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25">
          <p15:clr>
            <a:srgbClr val="A4A3A4"/>
          </p15:clr>
        </p15:guide>
        <p15:guide id="7" pos="7355">
          <p15:clr>
            <a:srgbClr val="A4A3A4"/>
          </p15:clr>
        </p15:guide>
        <p15:guide id="8" orient="horz" pos="356">
          <p15:clr>
            <a:srgbClr val="FBAE40"/>
          </p15:clr>
        </p15:guide>
        <p15:guide id="9" orient="horz" pos="1071">
          <p15:clr>
            <a:srgbClr val="A4A3A4"/>
          </p15:clr>
        </p15:guide>
        <p15:guide id="10" orient="horz" pos="3838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A503073-4BD3-9E03-C31B-261A756A87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884487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47" imgH="348" progId="TCLayout.ActiveDocument.1">
                  <p:embed/>
                </p:oleObj>
              </mc:Choice>
              <mc:Fallback>
                <p:oleObj name="think-cell Slide" r:id="rId19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503073-4BD3-9E03-C31B-261A756A87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2089101-580D-6D23-4FDD-DE83592C7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452912"/>
            <a:ext cx="11160125" cy="49738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styl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65E9EF6-FE8C-A34D-3D49-A14601E31A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725417"/>
            <a:ext cx="11160125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D77E3C4-6898-E0DA-4404-31D081157D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774A281-20E0-A8BD-73E6-4F33AD37CCB3}"/>
              </a:ext>
            </a:extLst>
          </p:cNvPr>
          <p:cNvSpPr txBox="1"/>
          <p:nvPr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>
              <a:latin typeface="Arial" panose="020B0604020202020204" pitchFamily="34" charset="0"/>
            </a:endParaRPr>
          </a:p>
        </p:txBody>
      </p:sp>
      <p:pic>
        <p:nvPicPr>
          <p:cNvPr id="5" name="Picture 20">
            <a:extLst>
              <a:ext uri="{FF2B5EF4-FFF2-40B4-BE49-F238E27FC236}">
                <a16:creationId xmlns:a16="http://schemas.microsoft.com/office/drawing/2014/main" id="{37C4570B-137D-38AC-984A-D66FE773319C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96C00EC5-5DB6-D4B1-5CEE-31E621E4C58D}"/>
              </a:ext>
            </a:extLst>
          </p:cNvPr>
          <p:cNvSpPr txBox="1"/>
          <p:nvPr userDrawn="1"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>
              <a:latin typeface="Arial" panose="020B0604020202020204" pitchFamily="34" charset="0"/>
            </a:endParaRPr>
          </a:p>
        </p:txBody>
      </p:sp>
      <p:pic>
        <p:nvPicPr>
          <p:cNvPr id="7" name="Picture 20">
            <a:extLst>
              <a:ext uri="{FF2B5EF4-FFF2-40B4-BE49-F238E27FC236}">
                <a16:creationId xmlns:a16="http://schemas.microsoft.com/office/drawing/2014/main" id="{44CDE296-6F5E-8B24-2D0E-AFE0F05D94B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325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4" r:id="rId15"/>
    <p:sldLayoutId id="2147483825" r:id="rId16"/>
  </p:sldLayoutIdLst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ts val="4200"/>
        </a:lnSpc>
        <a:spcBef>
          <a:spcPct val="0"/>
        </a:spcBef>
        <a:buNone/>
        <a:defRPr sz="3000" b="1" kern="1200" cap="all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25">
          <p15:clr>
            <a:srgbClr val="A4A3A4"/>
          </p15:clr>
        </p15:guide>
        <p15:guide id="7" pos="7355">
          <p15:clr>
            <a:srgbClr val="A4A3A4"/>
          </p15:clr>
        </p15:guide>
        <p15:guide id="8" orient="horz" pos="356">
          <p15:clr>
            <a:srgbClr val="FBAE40"/>
          </p15:clr>
        </p15:guide>
        <p15:guide id="9" orient="horz" pos="1071">
          <p15:clr>
            <a:srgbClr val="A4A3A4"/>
          </p15:clr>
        </p15:guide>
        <p15:guide id="10" orient="horz" pos="3838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12E0D6D-CA79-C461-D016-4ACFEBEE75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639888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47" imgH="348" progId="TCLayout.ActiveDocument.1">
                  <p:embed/>
                </p:oleObj>
              </mc:Choice>
              <mc:Fallback>
                <p:oleObj name="think-cell Slide" r:id="rId19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12E0D6D-CA79-C461-D016-4ACFEBEE75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2089101-580D-6D23-4FDD-DE83592C7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452912"/>
            <a:ext cx="11160125" cy="49738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styl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65E9EF6-FE8C-A34D-3D49-A14601E31A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725417"/>
            <a:ext cx="11160125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D77E3C4-6898-E0DA-4404-31D081157D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774A281-20E0-A8BD-73E6-4F33AD37CCB3}"/>
              </a:ext>
            </a:extLst>
          </p:cNvPr>
          <p:cNvSpPr txBox="1"/>
          <p:nvPr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>
              <a:latin typeface="Arial" panose="020B0604020202020204" pitchFamily="34" charset="0"/>
            </a:endParaRPr>
          </a:p>
        </p:txBody>
      </p:sp>
      <p:pic>
        <p:nvPicPr>
          <p:cNvPr id="5" name="Picture 20">
            <a:extLst>
              <a:ext uri="{FF2B5EF4-FFF2-40B4-BE49-F238E27FC236}">
                <a16:creationId xmlns:a16="http://schemas.microsoft.com/office/drawing/2014/main" id="{37C4570B-137D-38AC-984A-D66FE773319C}"/>
              </a:ext>
            </a:extLst>
          </p:cNvPr>
          <p:cNvPicPr>
            <a:picLocks noChangeAspect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96C00EC5-5DB6-D4B1-5CEE-31E621E4C58D}"/>
              </a:ext>
            </a:extLst>
          </p:cNvPr>
          <p:cNvSpPr txBox="1"/>
          <p:nvPr userDrawn="1"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>
              <a:latin typeface="Arial" panose="020B0604020202020204" pitchFamily="34" charset="0"/>
            </a:endParaRPr>
          </a:p>
        </p:txBody>
      </p:sp>
      <p:pic>
        <p:nvPicPr>
          <p:cNvPr id="7" name="Picture 20">
            <a:extLst>
              <a:ext uri="{FF2B5EF4-FFF2-40B4-BE49-F238E27FC236}">
                <a16:creationId xmlns:a16="http://schemas.microsoft.com/office/drawing/2014/main" id="{44CDE296-6F5E-8B24-2D0E-AFE0F05D94B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576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  <p:sldLayoutId id="2147483859" r:id="rId14"/>
    <p:sldLayoutId id="2147483860" r:id="rId15"/>
    <p:sldLayoutId id="2147483861" r:id="rId16"/>
  </p:sldLayoutIdLst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ts val="4200"/>
        </a:lnSpc>
        <a:spcBef>
          <a:spcPct val="0"/>
        </a:spcBef>
        <a:buNone/>
        <a:defRPr sz="3000" b="1" kern="1200" cap="all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25">
          <p15:clr>
            <a:srgbClr val="A4A3A4"/>
          </p15:clr>
        </p15:guide>
        <p15:guide id="7" pos="7355">
          <p15:clr>
            <a:srgbClr val="A4A3A4"/>
          </p15:clr>
        </p15:guide>
        <p15:guide id="8" orient="horz" pos="356">
          <p15:clr>
            <a:srgbClr val="FBAE40"/>
          </p15:clr>
        </p15:guide>
        <p15:guide id="9" orient="horz" pos="1071">
          <p15:clr>
            <a:srgbClr val="A4A3A4"/>
          </p15:clr>
        </p15:guide>
        <p15:guide id="10" orient="horz" pos="3838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F1130709-C4CF-EF2F-FB5A-A1FA5A3204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37712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7" imgH="348" progId="TCLayout.ActiveDocument.1">
                  <p:embed/>
                </p:oleObj>
              </mc:Choice>
              <mc:Fallback>
                <p:oleObj name="think-cell Slide" r:id="rId10" imgW="347" imgH="34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F1130709-C4CF-EF2F-FB5A-A1FA5A320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2089101-580D-6D23-4FDD-DE83592C7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616488"/>
            <a:ext cx="11160125" cy="530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styl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65E9EF6-FE8C-A34D-3D49-A14601E31A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725417"/>
            <a:ext cx="11160125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D77E3C4-6898-E0DA-4404-31D081157D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GT Walsheim Pro" panose="00000500000000000000" pitchFamily="50" charset="0"/>
              </a:defRPr>
            </a:lvl1pPr>
          </a:lstStyle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774A281-20E0-A8BD-73E6-4F33AD37CCB3}"/>
              </a:ext>
            </a:extLst>
          </p:cNvPr>
          <p:cNvSpPr txBox="1"/>
          <p:nvPr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>
              <a:latin typeface="GT Walsheim Pro" panose="00000500000000000000" pitchFamily="50" charset="0"/>
            </a:endParaRPr>
          </a:p>
        </p:txBody>
      </p:sp>
      <p:pic>
        <p:nvPicPr>
          <p:cNvPr id="5" name="Picture 20">
            <a:extLst>
              <a:ext uri="{FF2B5EF4-FFF2-40B4-BE49-F238E27FC236}">
                <a16:creationId xmlns:a16="http://schemas.microsoft.com/office/drawing/2014/main" id="{37C4570B-137D-38AC-984A-D66FE773319C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96C00EC5-5DB6-D4B1-5CEE-31E621E4C58D}"/>
              </a:ext>
            </a:extLst>
          </p:cNvPr>
          <p:cNvSpPr txBox="1"/>
          <p:nvPr userDrawn="1"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>
              <a:latin typeface="GT Walsheim Pro" panose="00000500000000000000" pitchFamily="50" charset="0"/>
            </a:endParaRPr>
          </a:p>
        </p:txBody>
      </p:sp>
      <p:pic>
        <p:nvPicPr>
          <p:cNvPr id="7" name="Picture 20">
            <a:extLst>
              <a:ext uri="{FF2B5EF4-FFF2-40B4-BE49-F238E27FC236}">
                <a16:creationId xmlns:a16="http://schemas.microsoft.com/office/drawing/2014/main" id="{44CDE296-6F5E-8B24-2D0E-AFE0F05D94B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422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</p:sldLayoutIdLst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ts val="4000"/>
        </a:lnSpc>
        <a:spcBef>
          <a:spcPct val="0"/>
        </a:spcBef>
        <a:buNone/>
        <a:defRPr sz="4800" kern="1200" cap="all" baseline="0">
          <a:solidFill>
            <a:schemeClr val="tx1"/>
          </a:solidFill>
          <a:latin typeface="Knockout HTF48-Featherweight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25">
          <p15:clr>
            <a:srgbClr val="A4A3A4"/>
          </p15:clr>
        </p15:guide>
        <p15:guide id="7" pos="7355">
          <p15:clr>
            <a:srgbClr val="A4A3A4"/>
          </p15:clr>
        </p15:guide>
        <p15:guide id="8" orient="horz" pos="368">
          <p15:clr>
            <a:srgbClr val="FBAE40"/>
          </p15:clr>
        </p15:guide>
        <p15:guide id="9" orient="horz" pos="1071">
          <p15:clr>
            <a:srgbClr val="A4A3A4"/>
          </p15:clr>
        </p15:guide>
        <p15:guide id="10" orient="horz" pos="3838">
          <p15:clr>
            <a:srgbClr val="A4A3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2089101-580D-6D23-4FDD-DE83592C7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452912"/>
            <a:ext cx="11160125" cy="49738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edit</a:t>
            </a:r>
            <a:r>
              <a:rPr lang="da-DK"/>
              <a:t> styl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65E9EF6-FE8C-A34D-3D49-A14601E31A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725417"/>
            <a:ext cx="11160125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ext</a:t>
            </a:r>
            <a:endParaRPr lang="da-DK"/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D77E3C4-6898-E0DA-4404-31D081157D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fld id="{73BC3415-6A21-2E49-A058-D443F991EEAB}" type="slidenum">
              <a:rPr lang="da-DK" smtClean="0"/>
              <a:pPr/>
              <a:t>‹#›</a:t>
            </a:fld>
            <a:endParaRPr lang="da-DK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774A281-20E0-A8BD-73E6-4F33AD37CCB3}"/>
              </a:ext>
            </a:extLst>
          </p:cNvPr>
          <p:cNvSpPr txBox="1"/>
          <p:nvPr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>
              <a:latin typeface="Arial" panose="020B0604020202020204" pitchFamily="34" charset="0"/>
            </a:endParaRPr>
          </a:p>
        </p:txBody>
      </p:sp>
      <p:pic>
        <p:nvPicPr>
          <p:cNvPr id="5" name="Picture 20">
            <a:extLst>
              <a:ext uri="{FF2B5EF4-FFF2-40B4-BE49-F238E27FC236}">
                <a16:creationId xmlns:a16="http://schemas.microsoft.com/office/drawing/2014/main" id="{37C4570B-137D-38AC-984A-D66FE773319C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96C00EC5-5DB6-D4B1-5CEE-31E621E4C58D}"/>
              </a:ext>
            </a:extLst>
          </p:cNvPr>
          <p:cNvSpPr txBox="1"/>
          <p:nvPr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>
              <a:latin typeface="Arial" panose="020B0604020202020204" pitchFamily="34" charset="0"/>
            </a:endParaRPr>
          </a:p>
        </p:txBody>
      </p:sp>
      <p:pic>
        <p:nvPicPr>
          <p:cNvPr id="7" name="Picture 20">
            <a:extLst>
              <a:ext uri="{FF2B5EF4-FFF2-40B4-BE49-F238E27FC236}">
                <a16:creationId xmlns:a16="http://schemas.microsoft.com/office/drawing/2014/main" id="{44CDE296-6F5E-8B24-2D0E-AFE0F05D94BD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6EFD919-4199-ACCD-96F1-85573FFE43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895265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47" imgH="348" progId="TCLayout.ActiveDocument.1">
                  <p:embed/>
                </p:oleObj>
              </mc:Choice>
              <mc:Fallback>
                <p:oleObj name="think-cell Slide" r:id="rId24" imgW="347" imgH="34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6EFD919-4199-ACCD-96F1-85573FFE43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kstfelt 8">
            <a:extLst>
              <a:ext uri="{FF2B5EF4-FFF2-40B4-BE49-F238E27FC236}">
                <a16:creationId xmlns:a16="http://schemas.microsoft.com/office/drawing/2014/main" id="{6DDADC69-6B6E-5926-7EC6-CB764FEA86CA}"/>
              </a:ext>
            </a:extLst>
          </p:cNvPr>
          <p:cNvSpPr txBox="1"/>
          <p:nvPr userDrawn="1"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>
              <a:latin typeface="Arial" panose="020B0604020202020204" pitchFamily="34" charset="0"/>
            </a:endParaRPr>
          </a:p>
        </p:txBody>
      </p:sp>
      <p:pic>
        <p:nvPicPr>
          <p:cNvPr id="10" name="Picture 20">
            <a:extLst>
              <a:ext uri="{FF2B5EF4-FFF2-40B4-BE49-F238E27FC236}">
                <a16:creationId xmlns:a16="http://schemas.microsoft.com/office/drawing/2014/main" id="{23FF128F-E8F3-D8BC-0A18-B80831088787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651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  <p:sldLayoutId id="2147483883" r:id="rId13"/>
    <p:sldLayoutId id="2147483884" r:id="rId14"/>
    <p:sldLayoutId id="2147483885" r:id="rId15"/>
    <p:sldLayoutId id="2147483886" r:id="rId16"/>
    <p:sldLayoutId id="2147483887" r:id="rId17"/>
    <p:sldLayoutId id="2147483888" r:id="rId18"/>
    <p:sldLayoutId id="2147483889" r:id="rId19"/>
    <p:sldLayoutId id="2147483890" r:id="rId20"/>
  </p:sldLayoutIdLst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ts val="4200"/>
        </a:lnSpc>
        <a:spcBef>
          <a:spcPct val="0"/>
        </a:spcBef>
        <a:buNone/>
        <a:defRPr sz="3000" b="1" kern="1200" cap="all" spc="-1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1" pos="325">
          <p15:clr>
            <a:srgbClr val="A4A3A4"/>
          </p15:clr>
        </p15:guide>
        <p15:guide id="12" pos="7355">
          <p15:clr>
            <a:srgbClr val="A4A3A4"/>
          </p15:clr>
        </p15:guide>
        <p15:guide id="13" orient="horz" pos="356">
          <p15:clr>
            <a:srgbClr val="FBAE40"/>
          </p15:clr>
        </p15:guide>
        <p15:guide id="14" orient="horz" pos="1071">
          <p15:clr>
            <a:srgbClr val="A4A3A4"/>
          </p15:clr>
        </p15:guide>
        <p15:guide id="15" orient="horz" pos="3838">
          <p15:clr>
            <a:srgbClr val="A4A3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DFABBE9-3FBD-52CE-3EAB-ABA8872FA8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78934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73" imgH="476" progId="TCLayout.ActiveDocument.1">
                  <p:embed/>
                </p:oleObj>
              </mc:Choice>
              <mc:Fallback>
                <p:oleObj name="think-cell Slide" r:id="rId20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DFABBE9-3FBD-52CE-3EAB-ABA8872FA8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02089101-580D-6D23-4FDD-DE83592C7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616488"/>
            <a:ext cx="11160125" cy="530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65E9EF6-FE8C-A34D-3D49-A14601E31A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725417"/>
            <a:ext cx="11160125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D77E3C4-6898-E0DA-4404-31D081157D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15938" y="6381402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GT Walsheim Pro" panose="00000500000000000000" pitchFamily="50" charset="0"/>
              </a:defRPr>
            </a:lvl1pPr>
          </a:lstStyle>
          <a:p>
            <a:fld id="{73BC3415-6A21-2E49-A058-D443F991EEAB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5774A281-20E0-A8BD-73E6-4F33AD37CCB3}"/>
              </a:ext>
            </a:extLst>
          </p:cNvPr>
          <p:cNvSpPr txBox="1"/>
          <p:nvPr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 dirty="0">
              <a:latin typeface="GT Walsheim Pro" panose="00000500000000000000" pitchFamily="50" charset="0"/>
            </a:endParaRPr>
          </a:p>
        </p:txBody>
      </p:sp>
      <p:pic>
        <p:nvPicPr>
          <p:cNvPr id="5" name="Picture 20">
            <a:extLst>
              <a:ext uri="{FF2B5EF4-FFF2-40B4-BE49-F238E27FC236}">
                <a16:creationId xmlns:a16="http://schemas.microsoft.com/office/drawing/2014/main" id="{37C4570B-137D-38AC-984A-D66FE773319C}"/>
              </a:ext>
            </a:extLst>
          </p:cNvPr>
          <p:cNvPicPr>
            <a:picLocks noChangeAspect="1"/>
          </p:cNvPicPr>
          <p:nvPr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96C00EC5-5DB6-D4B1-5CEE-31E621E4C58D}"/>
              </a:ext>
            </a:extLst>
          </p:cNvPr>
          <p:cNvSpPr txBox="1"/>
          <p:nvPr userDrawn="1"/>
        </p:nvSpPr>
        <p:spPr>
          <a:xfrm>
            <a:off x="4684734" y="344465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a-DK" sz="1200" b="0" i="0" dirty="0">
              <a:latin typeface="GT Walsheim Pro" panose="00000500000000000000" pitchFamily="50" charset="0"/>
            </a:endParaRPr>
          </a:p>
        </p:txBody>
      </p:sp>
      <p:pic>
        <p:nvPicPr>
          <p:cNvPr id="7" name="Picture 20">
            <a:extLst>
              <a:ext uri="{FF2B5EF4-FFF2-40B4-BE49-F238E27FC236}">
                <a16:creationId xmlns:a16="http://schemas.microsoft.com/office/drawing/2014/main" id="{44CDE296-6F5E-8B24-2D0E-AFE0F05D94BD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6497" y="6411184"/>
            <a:ext cx="1370677" cy="200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41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4" r:id="rId13"/>
    <p:sldLayoutId id="2147483905" r:id="rId14"/>
    <p:sldLayoutId id="2147483906" r:id="rId15"/>
    <p:sldLayoutId id="2147483907" r:id="rId16"/>
    <p:sldLayoutId id="2147483908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ts val="4000"/>
        </a:lnSpc>
        <a:spcBef>
          <a:spcPct val="0"/>
        </a:spcBef>
        <a:buNone/>
        <a:defRPr sz="4800" kern="1200" cap="all" baseline="0">
          <a:solidFill>
            <a:schemeClr val="tx1"/>
          </a:solidFill>
          <a:latin typeface="Knockout HTF48-Featherweight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b="0" i="0" kern="1200" baseline="0">
          <a:solidFill>
            <a:schemeClr val="tx1"/>
          </a:solidFill>
          <a:latin typeface="GT Walsheim Pro" panose="00000500000000000000" pitchFamily="50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325">
          <p15:clr>
            <a:srgbClr val="A4A3A4"/>
          </p15:clr>
        </p15:guide>
        <p15:guide id="7" pos="7355">
          <p15:clr>
            <a:srgbClr val="A4A3A4"/>
          </p15:clr>
        </p15:guide>
        <p15:guide id="8" orient="horz" pos="368">
          <p15:clr>
            <a:srgbClr val="FBAE40"/>
          </p15:clr>
        </p15:guide>
        <p15:guide id="9" orient="horz" pos="1071">
          <p15:clr>
            <a:srgbClr val="A4A3A4"/>
          </p15:clr>
        </p15:guide>
        <p15:guide id="10" orient="horz" pos="3838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0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.xml"/><Relationship Id="rId6" Type="http://schemas.openxmlformats.org/officeDocument/2006/relationships/image" Target="../media/image5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https://mcusercontent.com/90480cfc4e0b8973db06a9a88/images/3840eaa5-0363-733b-0180-999695c834f4.png" TargetMode="Externa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0.xml"/><Relationship Id="rId1" Type="http://schemas.openxmlformats.org/officeDocument/2006/relationships/tags" Target="../tags/tag68.xml"/><Relationship Id="rId6" Type="http://schemas.openxmlformats.org/officeDocument/2006/relationships/image" Target="../media/image6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7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6.jpeg"/><Relationship Id="rId9" Type="http://schemas.openxmlformats.org/officeDocument/2006/relationships/image" Target="../media/image8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13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13" Type="http://schemas.openxmlformats.org/officeDocument/2006/relationships/image" Target="../media/image26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20.png"/><Relationship Id="rId12" Type="http://schemas.openxmlformats.org/officeDocument/2006/relationships/image" Target="../media/image25.svg"/><Relationship Id="rId2" Type="http://schemas.openxmlformats.org/officeDocument/2006/relationships/slideLayout" Target="../slideLayouts/slideLayout55.xml"/><Relationship Id="rId1" Type="http://schemas.openxmlformats.org/officeDocument/2006/relationships/tags" Target="../tags/tag12.xml"/><Relationship Id="rId6" Type="http://schemas.openxmlformats.org/officeDocument/2006/relationships/image" Target="../media/image19.sv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.emf"/><Relationship Id="rId9" Type="http://schemas.openxmlformats.org/officeDocument/2006/relationships/image" Target="../media/image22.png"/><Relationship Id="rId14" Type="http://schemas.openxmlformats.org/officeDocument/2006/relationships/image" Target="../media/image27.sv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image" Target="../media/image29.svg"/><Relationship Id="rId39" Type="http://schemas.openxmlformats.org/officeDocument/2006/relationships/image" Target="../media/image42.png"/><Relationship Id="rId21" Type="http://schemas.openxmlformats.org/officeDocument/2006/relationships/notesSlide" Target="../notesSlides/notesSlide3.xml"/><Relationship Id="rId34" Type="http://schemas.openxmlformats.org/officeDocument/2006/relationships/image" Target="../media/image37.svg"/><Relationship Id="rId42" Type="http://schemas.openxmlformats.org/officeDocument/2006/relationships/image" Target="../media/image45.svg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0" Type="http://schemas.openxmlformats.org/officeDocument/2006/relationships/slideLayout" Target="../slideLayouts/slideLayout16.xml"/><Relationship Id="rId29" Type="http://schemas.openxmlformats.org/officeDocument/2006/relationships/image" Target="../media/image32.png"/><Relationship Id="rId41" Type="http://schemas.openxmlformats.org/officeDocument/2006/relationships/image" Target="../media/image44.png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24" Type="http://schemas.openxmlformats.org/officeDocument/2006/relationships/chart" Target="../charts/chart1.xml"/><Relationship Id="rId32" Type="http://schemas.openxmlformats.org/officeDocument/2006/relationships/image" Target="../media/image35.svg"/><Relationship Id="rId37" Type="http://schemas.openxmlformats.org/officeDocument/2006/relationships/image" Target="../media/image40.png"/><Relationship Id="rId40" Type="http://schemas.openxmlformats.org/officeDocument/2006/relationships/image" Target="../media/image43.svg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23" Type="http://schemas.openxmlformats.org/officeDocument/2006/relationships/image" Target="../media/image1.emf"/><Relationship Id="rId28" Type="http://schemas.openxmlformats.org/officeDocument/2006/relationships/image" Target="../media/image31.svg"/><Relationship Id="rId36" Type="http://schemas.openxmlformats.org/officeDocument/2006/relationships/image" Target="../media/image39.svg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31" Type="http://schemas.openxmlformats.org/officeDocument/2006/relationships/image" Target="../media/image34.png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oleObject" Target="../embeddings/oleObject12.bin"/><Relationship Id="rId27" Type="http://schemas.openxmlformats.org/officeDocument/2006/relationships/image" Target="../media/image30.png"/><Relationship Id="rId30" Type="http://schemas.openxmlformats.org/officeDocument/2006/relationships/image" Target="../media/image33.svg"/><Relationship Id="rId35" Type="http://schemas.openxmlformats.org/officeDocument/2006/relationships/image" Target="../media/image38.png"/><Relationship Id="rId8" Type="http://schemas.openxmlformats.org/officeDocument/2006/relationships/tags" Target="../tags/tag20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image" Target="../media/image28.png"/><Relationship Id="rId33" Type="http://schemas.openxmlformats.org/officeDocument/2006/relationships/image" Target="../media/image36.png"/><Relationship Id="rId38" Type="http://schemas.openxmlformats.org/officeDocument/2006/relationships/image" Target="../media/image4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7.svg"/><Relationship Id="rId12" Type="http://schemas.openxmlformats.org/officeDocument/2006/relationships/image" Target="../media/image52.png"/><Relationship Id="rId17" Type="http://schemas.openxmlformats.org/officeDocument/2006/relationships/image" Target="../media/image57.svg"/><Relationship Id="rId2" Type="http://schemas.openxmlformats.org/officeDocument/2006/relationships/slideLayout" Target="../slideLayouts/slideLayout83.xml"/><Relationship Id="rId16" Type="http://schemas.openxmlformats.org/officeDocument/2006/relationships/image" Target="../media/image56.png"/><Relationship Id="rId1" Type="http://schemas.openxmlformats.org/officeDocument/2006/relationships/tags" Target="../tags/tag32.xml"/><Relationship Id="rId6" Type="http://schemas.openxmlformats.org/officeDocument/2006/relationships/image" Target="../media/image46.png"/><Relationship Id="rId11" Type="http://schemas.openxmlformats.org/officeDocument/2006/relationships/image" Target="../media/image51.svg"/><Relationship Id="rId5" Type="http://schemas.openxmlformats.org/officeDocument/2006/relationships/image" Target="../media/image1.emf"/><Relationship Id="rId15" Type="http://schemas.openxmlformats.org/officeDocument/2006/relationships/image" Target="../media/image55.svg"/><Relationship Id="rId10" Type="http://schemas.openxmlformats.org/officeDocument/2006/relationships/image" Target="../media/image50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49.svg"/><Relationship Id="rId14" Type="http://schemas.openxmlformats.org/officeDocument/2006/relationships/image" Target="../media/image54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tags" Target="../tags/tag58.xml"/><Relationship Id="rId3" Type="http://schemas.openxmlformats.org/officeDocument/2006/relationships/tags" Target="../tags/tag35.xml"/><Relationship Id="rId21" Type="http://schemas.openxmlformats.org/officeDocument/2006/relationships/tags" Target="../tags/tag53.xml"/><Relationship Id="rId34" Type="http://schemas.openxmlformats.org/officeDocument/2006/relationships/oleObject" Target="../embeddings/oleObject14.bin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tags" Target="../tags/tag57.xml"/><Relationship Id="rId33" Type="http://schemas.openxmlformats.org/officeDocument/2006/relationships/notesSlide" Target="../notesSlides/notesSlide5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29" Type="http://schemas.openxmlformats.org/officeDocument/2006/relationships/tags" Target="../tags/tag61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tags" Target="../tags/tag56.xml"/><Relationship Id="rId32" Type="http://schemas.openxmlformats.org/officeDocument/2006/relationships/slideLayout" Target="../slideLayouts/slideLayout83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tags" Target="../tags/tag60.xml"/><Relationship Id="rId36" Type="http://schemas.openxmlformats.org/officeDocument/2006/relationships/chart" Target="../charts/chart2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31" Type="http://schemas.openxmlformats.org/officeDocument/2006/relationships/tags" Target="../tags/tag63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tags" Target="../tags/tag59.xml"/><Relationship Id="rId30" Type="http://schemas.openxmlformats.org/officeDocument/2006/relationships/tags" Target="../tags/tag62.xml"/><Relationship Id="rId35" Type="http://schemas.openxmlformats.org/officeDocument/2006/relationships/image" Target="../media/image1.emf"/><Relationship Id="rId8" Type="http://schemas.openxmlformats.org/officeDocument/2006/relationships/tags" Target="../tags/tag4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8.jpeg"/><Relationship Id="rId2" Type="http://schemas.openxmlformats.org/officeDocument/2006/relationships/slideLayout" Target="../slideLayouts/slideLayout113.xml"/><Relationship Id="rId1" Type="http://schemas.openxmlformats.org/officeDocument/2006/relationships/tags" Target="../tags/tag64.xml"/><Relationship Id="rId6" Type="http://schemas.openxmlformats.org/officeDocument/2006/relationships/hyperlink" Target="https://www.dnv.com/maritime/insights/topics/eu-emissions-trading-system/eu-ets-compliance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B72E224-96BB-54FC-0115-D773C9C0FA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441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B72E224-96BB-54FC-0115-D773C9C0FA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long ship in the ocean&#10;&#10;Description automatically generated">
            <a:extLst>
              <a:ext uri="{FF2B5EF4-FFF2-40B4-BE49-F238E27FC236}">
                <a16:creationId xmlns:a16="http://schemas.microsoft.com/office/drawing/2014/main" id="{E98697B8-BF3A-E72D-7ADE-579108CAEB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05001" y="-2308"/>
            <a:ext cx="10286999" cy="6857999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id="{A75C995E-67CF-6EA4-5F4A-3D70A0BACCD2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8625260-C518-3941-A262-B311879F33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5033" y="2867025"/>
            <a:ext cx="5307117" cy="2828925"/>
          </a:xfrm>
          <a:solidFill>
            <a:schemeClr val="tx1"/>
          </a:solidFill>
        </p:spPr>
        <p:txBody>
          <a:bodyPr vert="horz" rIns="792000" bIns="684000" anchor="ctr">
            <a:noAutofit/>
          </a:bodyPr>
          <a:lstStyle/>
          <a:p>
            <a:pPr>
              <a:lnSpc>
                <a:spcPct val="100000"/>
              </a:lnSpc>
            </a:pPr>
            <a:br>
              <a:rPr lang="da-DK" sz="8800" dirty="0">
                <a:latin typeface="+mj-lt"/>
              </a:rPr>
            </a:br>
            <a:r>
              <a:rPr lang="en-GB" sz="6000" dirty="0">
                <a:solidFill>
                  <a:srgbClr val="FFFFFF"/>
                </a:solidFill>
                <a:latin typeface="Arial (Headings)"/>
              </a:rPr>
              <a:t>Fuel EU maritime &amp; Imo</a:t>
            </a:r>
            <a:br>
              <a:rPr lang="en-GB" sz="6000" dirty="0">
                <a:solidFill>
                  <a:srgbClr val="FFFFFF"/>
                </a:solidFill>
                <a:latin typeface="Arial (Headings)"/>
              </a:rPr>
            </a:br>
            <a:br>
              <a:rPr lang="en-GB" sz="6000" b="1" dirty="0">
                <a:solidFill>
                  <a:srgbClr val="FFFFFF"/>
                </a:solidFill>
                <a:latin typeface="Arial (Headings)"/>
              </a:rPr>
            </a:br>
            <a:r>
              <a:rPr lang="en-US" sz="1400" b="0" dirty="0">
                <a:solidFill>
                  <a:srgbClr val="FFFFFF"/>
                </a:solidFill>
                <a:latin typeface="Arial" panose="020B0604020202020204" pitchFamily="34" charset="0"/>
              </a:rPr>
              <a:t>Maria skipper Schwenn</a:t>
            </a:r>
            <a:br>
              <a:rPr lang="en-US" sz="1400" b="0" dirty="0">
                <a:solidFill>
                  <a:srgbClr val="FFFFFF"/>
                </a:solidFill>
                <a:latin typeface="Arial" panose="020B0604020202020204" pitchFamily="34" charset="0"/>
              </a:rPr>
            </a:br>
            <a:r>
              <a:rPr lang="en-US" sz="1400" b="0" dirty="0">
                <a:solidFill>
                  <a:srgbClr val="FFFFFF"/>
                </a:solidFill>
                <a:latin typeface="Arial" panose="020B0604020202020204" pitchFamily="34" charset="0"/>
              </a:rPr>
              <a:t>Director of environmental regulatory  and public affairs</a:t>
            </a:r>
            <a:br>
              <a:rPr lang="en-GB" sz="6000" b="1" dirty="0">
                <a:solidFill>
                  <a:srgbClr val="FFFFFF"/>
                </a:solidFill>
                <a:latin typeface="Arial (Headings)"/>
              </a:rPr>
            </a:br>
            <a:endParaRPr lang="da-DK" sz="6000" b="1" dirty="0">
              <a:solidFill>
                <a:srgbClr val="FFFFFF"/>
              </a:solidFill>
              <a:latin typeface="Arial (Headings)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89EDFF-61A1-BF45-9386-636B93014A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59873C9-BF5D-4A9A-BB31-45BBB7BABAF7}" type="slidenum">
              <a:rPr lang="en-US" noProof="0" smtClean="0"/>
              <a:t>1</a:t>
            </a:fld>
            <a:endParaRPr lang="en-US" noProof="0"/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2E5DEBA7-5857-2E4B-ABE2-A2489C6B86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1708" y="556727"/>
            <a:ext cx="1616400" cy="964800"/>
          </a:xfrm>
          <a:ln>
            <a:noFill/>
          </a:ln>
        </p:spPr>
        <p:txBody>
          <a:bodyPr/>
          <a:lstStyle/>
          <a:p>
            <a:endParaRPr lang="da-DK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69EB229-0F3C-2659-3CA6-191B3A1DE1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88645" y="2309"/>
            <a:ext cx="680335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6974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73FA9DA-2B57-88A6-0FA7-A57B6444EC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3FA9DA-2B57-88A6-0FA7-A57B6444E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>
            <a:extLst>
              <a:ext uri="{FF2B5EF4-FFF2-40B4-BE49-F238E27FC236}">
                <a16:creationId xmlns:a16="http://schemas.microsoft.com/office/drawing/2014/main" id="{FBBCAA52-D312-FD92-DED2-4CC883BBA0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066" y="532068"/>
            <a:ext cx="2493509" cy="2694063"/>
          </a:xfrm>
        </p:spPr>
        <p:txBody>
          <a:bodyPr vert="horz" wrap="square" anchor="t">
            <a:noAutofit/>
          </a:bodyPr>
          <a:lstStyle/>
          <a:p>
            <a:r>
              <a:rPr lang="en-US" sz="3000" b="1">
                <a:latin typeface="Arial" panose="020B0604020202020204" pitchFamily="34" charset="0"/>
                <a:cs typeface="Arial" panose="020B0604020202020204" pitchFamily="34" charset="0"/>
              </a:rPr>
              <a:t>Pooling</a:t>
            </a:r>
            <a:br>
              <a:rPr lang="en-US" sz="3000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000" b="1">
                <a:latin typeface="Arial" panose="020B0604020202020204" pitchFamily="34" charset="0"/>
                <a:cs typeface="Arial" panose="020B0604020202020204" pitchFamily="34" charset="0"/>
              </a:rPr>
              <a:t>borrowing</a:t>
            </a:r>
            <a:br>
              <a:rPr lang="en-US" sz="3000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000" b="1">
                <a:latin typeface="Arial" panose="020B0604020202020204" pitchFamily="34" charset="0"/>
                <a:cs typeface="Arial" panose="020B0604020202020204" pitchFamily="34" charset="0"/>
              </a:rPr>
              <a:t>Banking</a:t>
            </a:r>
          </a:p>
        </p:txBody>
      </p:sp>
      <p:pic>
        <p:nvPicPr>
          <p:cNvPr id="6" name="Content Placeholder 5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7374EDA4-338A-D65C-2196-F2BEEF1192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3216" y="947067"/>
            <a:ext cx="8362846" cy="4766820"/>
          </a:xfrm>
          <a:noFill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59FF16-516E-A7C9-17C0-109FD9C6EF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15938" y="6381402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73BC3415-6A21-2E49-A058-D443F991EEAB}" type="slidenum">
              <a:rPr lang="da-DK" smtClean="0"/>
              <a:pPr>
                <a:spcAft>
                  <a:spcPts val="600"/>
                </a:spcAft>
              </a:pPr>
              <a:t>10</a:t>
            </a:fld>
            <a:endParaRPr lang="da-DK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55CD8C1B-8F92-A79C-9F57-9418D83190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03654" y="3067050"/>
            <a:ext cx="2352675" cy="1624588"/>
          </a:xfrm>
        </p:spPr>
        <p:txBody>
          <a:bodyPr anchor="b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 panose="020B0604020202020204" pitchFamily="34" charset="0"/>
              </a:rPr>
              <a:t>Reward overachiev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 panose="020B0604020202020204" pitchFamily="34" charset="0"/>
              </a:rPr>
              <a:t>Rapid deployment of new fu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 panose="020B0604020202020204" pitchFamily="34" charset="0"/>
              </a:rPr>
              <a:t>Across companies, but the same verif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latin typeface="Arial" panose="020B0604020202020204" pitchFamily="34" charset="0"/>
              </a:rPr>
              <a:t>Open market</a:t>
            </a:r>
          </a:p>
        </p:txBody>
      </p:sp>
    </p:spTree>
    <p:extLst>
      <p:ext uri="{BB962C8B-B14F-4D97-AF65-F5344CB8AC3E}">
        <p14:creationId xmlns:p14="http://schemas.microsoft.com/office/powerpoint/2010/main" val="2982844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4BF9CD68-A574-02E7-2061-72B4FECE30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616488"/>
            <a:ext cx="11160125" cy="530594"/>
          </a:xfrm>
        </p:spPr>
        <p:txBody>
          <a:bodyPr wrap="square" anchor="t">
            <a:normAutofit/>
          </a:bodyPr>
          <a:lstStyle/>
          <a:p>
            <a:r>
              <a:rPr lang="en-US" sz="4400"/>
              <a:t>Pooling</a:t>
            </a:r>
          </a:p>
        </p:txBody>
      </p:sp>
      <p:pic>
        <p:nvPicPr>
          <p:cNvPr id="9" name="Content Placeholder 8" descr="A screenshot of a graph&#10;&#10;Description automatically generated">
            <a:extLst>
              <a:ext uri="{FF2B5EF4-FFF2-40B4-BE49-F238E27FC236}">
                <a16:creationId xmlns:a16="http://schemas.microsoft.com/office/drawing/2014/main" id="{E80447AA-7734-5567-A103-6FA083B103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062480" y="1506220"/>
            <a:ext cx="8178800" cy="4735292"/>
          </a:xfrm>
          <a:noFill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9E0858-29F3-A20A-A807-6AB8469258F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15938" y="6381402"/>
            <a:ext cx="27432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73BC3415-6A21-2E49-A058-D443F991EEAB}" type="slidenum">
              <a:rPr lang="da-DK" smtClean="0"/>
              <a:pPr>
                <a:spcAft>
                  <a:spcPts val="600"/>
                </a:spcAft>
              </a:pPr>
              <a:t>11</a:t>
            </a:fld>
            <a:endParaRPr lang="da-DK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9822886-2EAB-30E0-F9B4-E116328492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5938" y="1122045"/>
            <a:ext cx="11160125" cy="384175"/>
          </a:xfrm>
        </p:spPr>
        <p:txBody>
          <a:bodyPr>
            <a:normAutofit/>
          </a:bodyPr>
          <a:lstStyle/>
          <a:p>
            <a:r>
              <a:rPr lang="en-US" dirty="0"/>
              <a:t>Can be a real advantage</a:t>
            </a:r>
          </a:p>
        </p:txBody>
      </p:sp>
    </p:spTree>
    <p:extLst>
      <p:ext uri="{BB962C8B-B14F-4D97-AF65-F5344CB8AC3E}">
        <p14:creationId xmlns:p14="http://schemas.microsoft.com/office/powerpoint/2010/main" val="1232819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967CAD2-774A-969A-03DD-ACCD842E09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16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967CAD2-774A-969A-03DD-ACCD842E0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81BFB1FB-9B69-F73F-8A8A-C77588048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 sz="3000" b="1">
                <a:latin typeface="Arial" panose="020B0604020202020204" pitchFamily="34" charset="0"/>
                <a:cs typeface="Arial" panose="020B0604020202020204" pitchFamily="34" charset="0"/>
              </a:rPr>
              <a:t>Banking &amp; borrowing + penal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4974D2-E9F3-7683-DD3E-6C53EA87841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12</a:t>
            </a:fld>
            <a:endParaRPr lang="da-DK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A08D3671-2639-3C7B-7310-84610D814716}"/>
              </a:ext>
            </a:extLst>
          </p:cNvPr>
          <p:cNvSpPr/>
          <p:nvPr/>
        </p:nvSpPr>
        <p:spPr>
          <a:xfrm>
            <a:off x="609598" y="2139965"/>
            <a:ext cx="3600000" cy="4101546"/>
          </a:xfrm>
          <a:custGeom>
            <a:avLst/>
            <a:gdLst>
              <a:gd name="connsiteX0" fmla="*/ 0 w 3600000"/>
              <a:gd name="connsiteY0" fmla="*/ 0 h 3012602"/>
              <a:gd name="connsiteX1" fmla="*/ 1800001 w 3600000"/>
              <a:gd name="connsiteY1" fmla="*/ 265125 h 3012602"/>
              <a:gd name="connsiteX2" fmla="*/ 3600000 w 3600000"/>
              <a:gd name="connsiteY2" fmla="*/ 0 h 3012602"/>
              <a:gd name="connsiteX3" fmla="*/ 3600000 w 3600000"/>
              <a:gd name="connsiteY3" fmla="*/ 3012602 h 3012602"/>
              <a:gd name="connsiteX4" fmla="*/ 0 w 3600000"/>
              <a:gd name="connsiteY4" fmla="*/ 3012602 h 3012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00000" h="3012602">
                <a:moveTo>
                  <a:pt x="0" y="0"/>
                </a:moveTo>
                <a:lnTo>
                  <a:pt x="1800001" y="265125"/>
                </a:lnTo>
                <a:lnTo>
                  <a:pt x="3600000" y="0"/>
                </a:lnTo>
                <a:lnTo>
                  <a:pt x="3600000" y="3012602"/>
                </a:lnTo>
                <a:lnTo>
                  <a:pt x="0" y="3012602"/>
                </a:lnTo>
                <a:close/>
              </a:path>
            </a:pathLst>
          </a:custGeom>
          <a:solidFill>
            <a:srgbClr val="F2F2F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88900" tIns="468000" rIns="88900" bIns="38100" rtlCol="0" anchor="t">
            <a:noAutofit/>
          </a:bodyPr>
          <a:lstStyle/>
          <a:p>
            <a:pPr marL="285744" marR="0" lvl="0" indent="-285744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The company can “bank” the compliance surplus for the same vessel</a:t>
            </a:r>
          </a:p>
          <a:p>
            <a:pPr marL="742944" lvl="1" indent="-285744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No expiration date</a:t>
            </a:r>
          </a:p>
        </p:txBody>
      </p:sp>
      <p:sp>
        <p:nvSpPr>
          <p:cNvPr id="9" name="Nom4">
            <a:extLst>
              <a:ext uri="{FF2B5EF4-FFF2-40B4-BE49-F238E27FC236}">
                <a16:creationId xmlns:a16="http://schemas.microsoft.com/office/drawing/2014/main" id="{77ECCB30-CF79-D4C2-42C9-D68BFAFC9BB9}"/>
              </a:ext>
            </a:extLst>
          </p:cNvPr>
          <p:cNvSpPr/>
          <p:nvPr/>
        </p:nvSpPr>
        <p:spPr>
          <a:xfrm rot="5400000">
            <a:off x="2121142" y="241195"/>
            <a:ext cx="576915" cy="36000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</a:rPr>
              <a:t>Banking</a:t>
            </a:r>
          </a:p>
        </p:txBody>
      </p:sp>
      <p:sp>
        <p:nvSpPr>
          <p:cNvPr id="10" name="Nom3">
            <a:extLst>
              <a:ext uri="{FF2B5EF4-FFF2-40B4-BE49-F238E27FC236}">
                <a16:creationId xmlns:a16="http://schemas.microsoft.com/office/drawing/2014/main" id="{59D84DA8-F449-81B5-A30C-5609B9E15DFE}"/>
              </a:ext>
            </a:extLst>
          </p:cNvPr>
          <p:cNvSpPr/>
          <p:nvPr/>
        </p:nvSpPr>
        <p:spPr>
          <a:xfrm rot="5400000">
            <a:off x="5807542" y="241196"/>
            <a:ext cx="576915" cy="3600000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 algn="ctr">
              <a:defRPr/>
            </a:pPr>
            <a:r>
              <a:rPr lang="en-US" sz="2400" b="1" kern="0"/>
              <a:t>Borrowing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11CF475-EFD2-6400-EA33-3800649D75D7}"/>
              </a:ext>
            </a:extLst>
          </p:cNvPr>
          <p:cNvSpPr/>
          <p:nvPr/>
        </p:nvSpPr>
        <p:spPr>
          <a:xfrm>
            <a:off x="4296001" y="2139965"/>
            <a:ext cx="3599998" cy="4101546"/>
          </a:xfrm>
          <a:custGeom>
            <a:avLst/>
            <a:gdLst>
              <a:gd name="connsiteX0" fmla="*/ 0 w 3599998"/>
              <a:gd name="connsiteY0" fmla="*/ 0 h 3012602"/>
              <a:gd name="connsiteX1" fmla="*/ 1800000 w 3599998"/>
              <a:gd name="connsiteY1" fmla="*/ 265125 h 3012602"/>
              <a:gd name="connsiteX2" fmla="*/ 3599998 w 3599998"/>
              <a:gd name="connsiteY2" fmla="*/ 0 h 3012602"/>
              <a:gd name="connsiteX3" fmla="*/ 3599998 w 3599998"/>
              <a:gd name="connsiteY3" fmla="*/ 3012602 h 3012602"/>
              <a:gd name="connsiteX4" fmla="*/ 0 w 3599998"/>
              <a:gd name="connsiteY4" fmla="*/ 3012602 h 3012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9998" h="3012602">
                <a:moveTo>
                  <a:pt x="0" y="0"/>
                </a:moveTo>
                <a:lnTo>
                  <a:pt x="1800000" y="265125"/>
                </a:lnTo>
                <a:lnTo>
                  <a:pt x="3599998" y="0"/>
                </a:lnTo>
                <a:lnTo>
                  <a:pt x="3599998" y="3012602"/>
                </a:lnTo>
                <a:lnTo>
                  <a:pt x="0" y="3012602"/>
                </a:lnTo>
                <a:close/>
              </a:path>
            </a:pathLst>
          </a:custGeom>
          <a:solidFill>
            <a:srgbClr val="F2F2F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88900" tIns="468000" rIns="88900" bIns="38100" rtlCol="0" anchor="t">
            <a:noAutofit/>
          </a:bodyPr>
          <a:lstStyle/>
          <a:p>
            <a:pPr marL="285744" lvl="0" indent="-285744"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chemeClr val="tx1"/>
                </a:solidFill>
              </a:rPr>
              <a:t>In case of deficit, the company can borrow an advance compliance surplus from the next reporting period</a:t>
            </a:r>
          </a:p>
          <a:p>
            <a:pPr marL="742944" lvl="1" indent="-285744"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chemeClr val="tx1"/>
                </a:solidFill>
              </a:rPr>
              <a:t>But a multiplier of 1.1 is added to the compliance balance (more difficult to comply)</a:t>
            </a:r>
          </a:p>
          <a:p>
            <a:pPr marL="742944" lvl="1" indent="-285744"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chemeClr val="tx1"/>
                </a:solidFill>
              </a:rPr>
              <a:t>Cannot exceed 2% from baseline</a:t>
            </a:r>
          </a:p>
          <a:p>
            <a:pPr marL="742944" lvl="1" indent="-285744"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chemeClr val="tx1"/>
                </a:solidFill>
              </a:rPr>
              <a:t>Cannot be applied for two consecutive periods</a:t>
            </a:r>
          </a:p>
        </p:txBody>
      </p:sp>
      <p:sp>
        <p:nvSpPr>
          <p:cNvPr id="12" name="Nom2">
            <a:extLst>
              <a:ext uri="{FF2B5EF4-FFF2-40B4-BE49-F238E27FC236}">
                <a16:creationId xmlns:a16="http://schemas.microsoft.com/office/drawing/2014/main" id="{0DF5A1D3-22F5-65BB-4996-09C36845EB7D}"/>
              </a:ext>
            </a:extLst>
          </p:cNvPr>
          <p:cNvSpPr/>
          <p:nvPr/>
        </p:nvSpPr>
        <p:spPr>
          <a:xfrm rot="5400000">
            <a:off x="9493943" y="241196"/>
            <a:ext cx="576915" cy="360000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 algn="ctr">
              <a:defRPr/>
            </a:pPr>
            <a:r>
              <a:rPr lang="en-US" sz="2400" b="1" kern="0"/>
              <a:t>Penalty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38A8C4CF-F96F-01B8-A56E-42245F0B6625}"/>
              </a:ext>
            </a:extLst>
          </p:cNvPr>
          <p:cNvSpPr/>
          <p:nvPr/>
        </p:nvSpPr>
        <p:spPr>
          <a:xfrm>
            <a:off x="7982401" y="2139965"/>
            <a:ext cx="3599999" cy="4101546"/>
          </a:xfrm>
          <a:custGeom>
            <a:avLst/>
            <a:gdLst>
              <a:gd name="connsiteX0" fmla="*/ 0 w 3599999"/>
              <a:gd name="connsiteY0" fmla="*/ 0 h 3012602"/>
              <a:gd name="connsiteX1" fmla="*/ 1800001 w 3599999"/>
              <a:gd name="connsiteY1" fmla="*/ 265125 h 3012602"/>
              <a:gd name="connsiteX2" fmla="*/ 3599999 w 3599999"/>
              <a:gd name="connsiteY2" fmla="*/ 0 h 3012602"/>
              <a:gd name="connsiteX3" fmla="*/ 3599999 w 3599999"/>
              <a:gd name="connsiteY3" fmla="*/ 3012602 h 3012602"/>
              <a:gd name="connsiteX4" fmla="*/ 0 w 3599999"/>
              <a:gd name="connsiteY4" fmla="*/ 3012602 h 3012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99999" h="3012602">
                <a:moveTo>
                  <a:pt x="0" y="0"/>
                </a:moveTo>
                <a:lnTo>
                  <a:pt x="1800001" y="265125"/>
                </a:lnTo>
                <a:lnTo>
                  <a:pt x="3599999" y="0"/>
                </a:lnTo>
                <a:lnTo>
                  <a:pt x="3599999" y="3012602"/>
                </a:lnTo>
                <a:lnTo>
                  <a:pt x="0" y="3012602"/>
                </a:lnTo>
                <a:close/>
              </a:path>
            </a:pathLst>
          </a:custGeom>
          <a:solidFill>
            <a:srgbClr val="F2F2F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88900" tIns="468000" rIns="88900" bIns="38100" rtlCol="0" anchor="t">
            <a:noAutofit/>
          </a:bodyPr>
          <a:lstStyle/>
          <a:p>
            <a:pPr marL="285744" lvl="0" indent="-285744">
              <a:buFont typeface="Arial" panose="020B0604020202020204" pitchFamily="34" charset="0"/>
              <a:buChar char="•"/>
              <a:defRPr/>
            </a:pPr>
            <a:r>
              <a:rPr lang="fr-FR" sz="1600" kern="0" dirty="0">
                <a:solidFill>
                  <a:schemeClr val="tx1"/>
                </a:solidFill>
              </a:rPr>
              <a:t>2.400 EUR x non-compliant </a:t>
            </a:r>
            <a:r>
              <a:rPr lang="fr-FR" sz="1600" kern="0" dirty="0" err="1">
                <a:solidFill>
                  <a:schemeClr val="tx1"/>
                </a:solidFill>
              </a:rPr>
              <a:t>emissions</a:t>
            </a:r>
            <a:r>
              <a:rPr lang="fr-FR" sz="1600" kern="0" dirty="0">
                <a:solidFill>
                  <a:schemeClr val="tx1"/>
                </a:solidFill>
              </a:rPr>
              <a:t> in tonnes VLSFO-eq</a:t>
            </a:r>
          </a:p>
          <a:p>
            <a:pPr marL="285744" lvl="0" indent="-285744">
              <a:buFont typeface="Arial" panose="020B0604020202020204" pitchFamily="34" charset="0"/>
              <a:buChar char="•"/>
              <a:defRPr/>
            </a:pPr>
            <a:r>
              <a:rPr lang="fr-FR" sz="1600" kern="0" dirty="0" err="1">
                <a:solidFill>
                  <a:schemeClr val="tx1"/>
                </a:solidFill>
              </a:rPr>
              <a:t>Based</a:t>
            </a:r>
            <a:r>
              <a:rPr lang="fr-FR" sz="1600" kern="0" dirty="0">
                <a:solidFill>
                  <a:schemeClr val="tx1"/>
                </a:solidFill>
              </a:rPr>
              <a:t> on the </a:t>
            </a:r>
            <a:r>
              <a:rPr lang="fr-FR" sz="1600" kern="0" dirty="0" err="1">
                <a:solidFill>
                  <a:schemeClr val="tx1"/>
                </a:solidFill>
              </a:rPr>
              <a:t>actual</a:t>
            </a:r>
            <a:r>
              <a:rPr lang="fr-FR" sz="1600" kern="0" dirty="0">
                <a:solidFill>
                  <a:schemeClr val="tx1"/>
                </a:solidFill>
              </a:rPr>
              <a:t> GHG </a:t>
            </a:r>
            <a:r>
              <a:rPr lang="fr-FR" sz="1600" kern="0" dirty="0" err="1">
                <a:solidFill>
                  <a:schemeClr val="tx1"/>
                </a:solidFill>
              </a:rPr>
              <a:t>intensity</a:t>
            </a:r>
            <a:r>
              <a:rPr lang="fr-FR" sz="1600" kern="0" dirty="0">
                <a:solidFill>
                  <a:schemeClr val="tx1"/>
                </a:solidFill>
              </a:rPr>
              <a:t> of the </a:t>
            </a:r>
            <a:r>
              <a:rPr lang="fr-FR" sz="1600" kern="0" dirty="0" err="1">
                <a:solidFill>
                  <a:schemeClr val="tx1"/>
                </a:solidFill>
              </a:rPr>
              <a:t>vessel</a:t>
            </a:r>
            <a:endParaRPr lang="fr-FR" sz="1600" kern="0" dirty="0">
              <a:solidFill>
                <a:schemeClr val="tx1"/>
              </a:solidFill>
            </a:endParaRPr>
          </a:p>
          <a:p>
            <a:pPr marL="285744" lvl="0" indent="-285744">
              <a:buFont typeface="Arial" panose="020B0604020202020204" pitchFamily="34" charset="0"/>
              <a:buChar char="•"/>
              <a:defRPr/>
            </a:pPr>
            <a:r>
              <a:rPr lang="fr-FR" sz="1600" kern="0" dirty="0" err="1">
                <a:solidFill>
                  <a:schemeClr val="tx1"/>
                </a:solidFill>
              </a:rPr>
              <a:t>Progressively</a:t>
            </a:r>
            <a:r>
              <a:rPr lang="fr-FR" sz="1600" kern="0" dirty="0">
                <a:solidFill>
                  <a:schemeClr val="tx1"/>
                </a:solidFill>
              </a:rPr>
              <a:t> </a:t>
            </a:r>
            <a:r>
              <a:rPr lang="fr-FR" sz="1600" kern="0" dirty="0" err="1">
                <a:solidFill>
                  <a:schemeClr val="tx1"/>
                </a:solidFill>
              </a:rPr>
              <a:t>increased</a:t>
            </a:r>
            <a:r>
              <a:rPr lang="fr-FR" sz="1600" kern="0" dirty="0">
                <a:solidFill>
                  <a:schemeClr val="tx1"/>
                </a:solidFill>
              </a:rPr>
              <a:t> in case of compliance </a:t>
            </a:r>
            <a:r>
              <a:rPr lang="fr-FR" sz="1600" kern="0" dirty="0" err="1">
                <a:solidFill>
                  <a:schemeClr val="tx1"/>
                </a:solidFill>
              </a:rPr>
              <a:t>deficit</a:t>
            </a:r>
            <a:r>
              <a:rPr lang="fr-FR" sz="1600" kern="0" dirty="0">
                <a:solidFill>
                  <a:schemeClr val="tx1"/>
                </a:solidFill>
              </a:rPr>
              <a:t> for </a:t>
            </a:r>
            <a:r>
              <a:rPr lang="fr-FR" sz="1600" kern="0" dirty="0" err="1">
                <a:solidFill>
                  <a:schemeClr val="tx1"/>
                </a:solidFill>
              </a:rPr>
              <a:t>two</a:t>
            </a:r>
            <a:r>
              <a:rPr lang="fr-FR" sz="1600" kern="0" dirty="0">
                <a:solidFill>
                  <a:schemeClr val="tx1"/>
                </a:solidFill>
              </a:rPr>
              <a:t> or more </a:t>
            </a:r>
            <a:r>
              <a:rPr lang="fr-FR" sz="1600" kern="0" dirty="0" err="1">
                <a:solidFill>
                  <a:schemeClr val="tx1"/>
                </a:solidFill>
              </a:rPr>
              <a:t>consequtive</a:t>
            </a:r>
            <a:r>
              <a:rPr lang="fr-FR" sz="1600" kern="0" dirty="0">
                <a:solidFill>
                  <a:schemeClr val="tx1"/>
                </a:solidFill>
              </a:rPr>
              <a:t> </a:t>
            </a:r>
            <a:r>
              <a:rPr lang="fr-FR" sz="1600" kern="0" dirty="0" err="1">
                <a:solidFill>
                  <a:schemeClr val="tx1"/>
                </a:solidFill>
              </a:rPr>
              <a:t>periods</a:t>
            </a:r>
            <a:r>
              <a:rPr lang="fr-FR" sz="1600" kern="0" dirty="0">
                <a:solidFill>
                  <a:schemeClr val="tx1"/>
                </a:solidFill>
              </a:rPr>
              <a:t>.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655926DD-2BB1-E907-679E-4AE29DAE6455}"/>
              </a:ext>
            </a:extLst>
          </p:cNvPr>
          <p:cNvGrpSpPr/>
          <p:nvPr/>
        </p:nvGrpSpPr>
        <p:grpSpPr>
          <a:xfrm>
            <a:off x="5699256" y="5410096"/>
            <a:ext cx="793489" cy="748664"/>
            <a:chOff x="5432297" y="2803017"/>
            <a:chExt cx="1330452" cy="1251585"/>
          </a:xfrm>
        </p:grpSpPr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7748966-592D-F0E6-BE2E-BDE6A6C882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297" y="2803017"/>
              <a:ext cx="1330452" cy="1251585"/>
            </a:xfrm>
            <a:custGeom>
              <a:avLst/>
              <a:gdLst>
                <a:gd name="T0" fmla="*/ 1016 w 1864"/>
                <a:gd name="T1" fmla="*/ 1613 h 1752"/>
                <a:gd name="T2" fmla="*/ 97 w 1864"/>
                <a:gd name="T3" fmla="*/ 1503 h 1752"/>
                <a:gd name="T4" fmla="*/ 239 w 1864"/>
                <a:gd name="T5" fmla="*/ 707 h 1752"/>
                <a:gd name="T6" fmla="*/ 521 w 1864"/>
                <a:gd name="T7" fmla="*/ 396 h 1752"/>
                <a:gd name="T8" fmla="*/ 501 w 1864"/>
                <a:gd name="T9" fmla="*/ 361 h 1752"/>
                <a:gd name="T10" fmla="*/ 436 w 1864"/>
                <a:gd name="T11" fmla="*/ 117 h 1752"/>
                <a:gd name="T12" fmla="*/ 496 w 1864"/>
                <a:gd name="T13" fmla="*/ 32 h 1752"/>
                <a:gd name="T14" fmla="*/ 842 w 1864"/>
                <a:gd name="T15" fmla="*/ 0 h 1752"/>
                <a:gd name="T16" fmla="*/ 922 w 1864"/>
                <a:gd name="T17" fmla="*/ 89 h 1752"/>
                <a:gd name="T18" fmla="*/ 1053 w 1864"/>
                <a:gd name="T19" fmla="*/ 197 h 1752"/>
                <a:gd name="T20" fmla="*/ 911 w 1864"/>
                <a:gd name="T21" fmla="*/ 362 h 1752"/>
                <a:gd name="T22" fmla="*/ 905 w 1864"/>
                <a:gd name="T23" fmla="*/ 418 h 1752"/>
                <a:gd name="T24" fmla="*/ 1287 w 1864"/>
                <a:gd name="T25" fmla="*/ 872 h 1752"/>
                <a:gd name="T26" fmla="*/ 877 w 1864"/>
                <a:gd name="T27" fmla="*/ 452 h 1752"/>
                <a:gd name="T28" fmla="*/ 882 w 1864"/>
                <a:gd name="T29" fmla="*/ 329 h 1752"/>
                <a:gd name="T30" fmla="*/ 904 w 1864"/>
                <a:gd name="T31" fmla="*/ 129 h 1752"/>
                <a:gd name="T32" fmla="*/ 819 w 1864"/>
                <a:gd name="T33" fmla="*/ 273 h 1752"/>
                <a:gd name="T34" fmla="*/ 799 w 1864"/>
                <a:gd name="T35" fmla="*/ 242 h 1752"/>
                <a:gd name="T36" fmla="*/ 880 w 1864"/>
                <a:gd name="T37" fmla="*/ 56 h 1752"/>
                <a:gd name="T38" fmla="*/ 843 w 1864"/>
                <a:gd name="T39" fmla="*/ 44 h 1752"/>
                <a:gd name="T40" fmla="*/ 569 w 1864"/>
                <a:gd name="T41" fmla="*/ 44 h 1752"/>
                <a:gd name="T42" fmla="*/ 542 w 1864"/>
                <a:gd name="T43" fmla="*/ 98 h 1752"/>
                <a:gd name="T44" fmla="*/ 603 w 1864"/>
                <a:gd name="T45" fmla="*/ 271 h 1752"/>
                <a:gd name="T46" fmla="*/ 509 w 1864"/>
                <a:gd name="T47" fmla="*/ 129 h 1752"/>
                <a:gd name="T48" fmla="*/ 531 w 1864"/>
                <a:gd name="T49" fmla="*/ 329 h 1752"/>
                <a:gd name="T50" fmla="*/ 536 w 1864"/>
                <a:gd name="T51" fmla="*/ 452 h 1752"/>
                <a:gd name="T52" fmla="*/ 50 w 1864"/>
                <a:gd name="T53" fmla="*/ 1247 h 1752"/>
                <a:gd name="T54" fmla="*/ 397 w 1864"/>
                <a:gd name="T55" fmla="*/ 1569 h 1752"/>
                <a:gd name="T56" fmla="*/ 1034 w 1864"/>
                <a:gd name="T57" fmla="*/ 1569 h 1752"/>
                <a:gd name="T58" fmla="*/ 1631 w 1864"/>
                <a:gd name="T59" fmla="*/ 1398 h 1752"/>
                <a:gd name="T60" fmla="*/ 1509 w 1864"/>
                <a:gd name="T61" fmla="*/ 1736 h 1752"/>
                <a:gd name="T62" fmla="*/ 1201 w 1864"/>
                <a:gd name="T63" fmla="*/ 1736 h 1752"/>
                <a:gd name="T64" fmla="*/ 1078 w 1864"/>
                <a:gd name="T65" fmla="*/ 1618 h 1752"/>
                <a:gd name="T66" fmla="*/ 1201 w 1864"/>
                <a:gd name="T67" fmla="*/ 1280 h 1752"/>
                <a:gd name="T68" fmla="*/ 1509 w 1864"/>
                <a:gd name="T69" fmla="*/ 1280 h 1752"/>
                <a:gd name="T70" fmla="*/ 1631 w 1864"/>
                <a:gd name="T71" fmla="*/ 1398 h 1752"/>
                <a:gd name="T72" fmla="*/ 1498 w 1864"/>
                <a:gd name="T73" fmla="*/ 1323 h 1752"/>
                <a:gd name="T74" fmla="*/ 1211 w 1864"/>
                <a:gd name="T75" fmla="*/ 1323 h 1752"/>
                <a:gd name="T76" fmla="*/ 1122 w 1864"/>
                <a:gd name="T77" fmla="*/ 1618 h 1752"/>
                <a:gd name="T78" fmla="*/ 1355 w 1864"/>
                <a:gd name="T79" fmla="*/ 1708 h 1752"/>
                <a:gd name="T80" fmla="*/ 1587 w 1864"/>
                <a:gd name="T81" fmla="*/ 1618 h 1752"/>
                <a:gd name="T82" fmla="*/ 1806 w 1864"/>
                <a:gd name="T83" fmla="*/ 853 h 1752"/>
                <a:gd name="T84" fmla="*/ 1587 w 1864"/>
                <a:gd name="T85" fmla="*/ 812 h 1752"/>
                <a:gd name="T86" fmla="*/ 1311 w 1864"/>
                <a:gd name="T87" fmla="*/ 946 h 1752"/>
                <a:gd name="T88" fmla="*/ 1355 w 1864"/>
                <a:gd name="T89" fmla="*/ 1220 h 1752"/>
                <a:gd name="T90" fmla="*/ 1355 w 1864"/>
                <a:gd name="T91" fmla="*/ 946 h 1752"/>
                <a:gd name="T92" fmla="*/ 1587 w 1864"/>
                <a:gd name="T93" fmla="*/ 856 h 1752"/>
                <a:gd name="T94" fmla="*/ 1820 w 1864"/>
                <a:gd name="T95" fmla="*/ 946 h 1752"/>
                <a:gd name="T96" fmla="*/ 1731 w 1864"/>
                <a:gd name="T97" fmla="*/ 1580 h 1752"/>
                <a:gd name="T98" fmla="*/ 1675 w 1864"/>
                <a:gd name="T99" fmla="*/ 1618 h 1752"/>
                <a:gd name="T100" fmla="*/ 1741 w 1864"/>
                <a:gd name="T101" fmla="*/ 1623 h 1752"/>
                <a:gd name="T102" fmla="*/ 1864 w 1864"/>
                <a:gd name="T103" fmla="*/ 946 h 1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864" h="1752">
                  <a:moveTo>
                    <a:pt x="1034" y="1613"/>
                  </a:moveTo>
                  <a:cubicBezTo>
                    <a:pt x="1028" y="1613"/>
                    <a:pt x="1022" y="1613"/>
                    <a:pt x="1016" y="1613"/>
                  </a:cubicBezTo>
                  <a:cubicBezTo>
                    <a:pt x="397" y="1613"/>
                    <a:pt x="397" y="1613"/>
                    <a:pt x="397" y="1613"/>
                  </a:cubicBezTo>
                  <a:cubicBezTo>
                    <a:pt x="266" y="1613"/>
                    <a:pt x="165" y="1576"/>
                    <a:pt x="97" y="1503"/>
                  </a:cubicBezTo>
                  <a:cubicBezTo>
                    <a:pt x="0" y="1398"/>
                    <a:pt x="5" y="1258"/>
                    <a:pt x="6" y="1245"/>
                  </a:cubicBezTo>
                  <a:cubicBezTo>
                    <a:pt x="6" y="1088"/>
                    <a:pt x="84" y="907"/>
                    <a:pt x="239" y="707"/>
                  </a:cubicBezTo>
                  <a:cubicBezTo>
                    <a:pt x="352" y="560"/>
                    <a:pt x="474" y="446"/>
                    <a:pt x="508" y="418"/>
                  </a:cubicBezTo>
                  <a:cubicBezTo>
                    <a:pt x="521" y="407"/>
                    <a:pt x="521" y="399"/>
                    <a:pt x="521" y="396"/>
                  </a:cubicBezTo>
                  <a:cubicBezTo>
                    <a:pt x="521" y="381"/>
                    <a:pt x="506" y="365"/>
                    <a:pt x="502" y="362"/>
                  </a:cubicBezTo>
                  <a:cubicBezTo>
                    <a:pt x="502" y="362"/>
                    <a:pt x="502" y="361"/>
                    <a:pt x="501" y="361"/>
                  </a:cubicBezTo>
                  <a:cubicBezTo>
                    <a:pt x="451" y="314"/>
                    <a:pt x="365" y="230"/>
                    <a:pt x="360" y="197"/>
                  </a:cubicBezTo>
                  <a:cubicBezTo>
                    <a:pt x="356" y="173"/>
                    <a:pt x="378" y="150"/>
                    <a:pt x="436" y="117"/>
                  </a:cubicBezTo>
                  <a:cubicBezTo>
                    <a:pt x="457" y="106"/>
                    <a:pt x="477" y="96"/>
                    <a:pt x="491" y="89"/>
                  </a:cubicBezTo>
                  <a:cubicBezTo>
                    <a:pt x="484" y="67"/>
                    <a:pt x="486" y="48"/>
                    <a:pt x="496" y="32"/>
                  </a:cubicBezTo>
                  <a:cubicBezTo>
                    <a:pt x="517" y="0"/>
                    <a:pt x="563" y="0"/>
                    <a:pt x="571" y="0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850" y="0"/>
                    <a:pt x="896" y="0"/>
                    <a:pt x="917" y="32"/>
                  </a:cubicBezTo>
                  <a:cubicBezTo>
                    <a:pt x="927" y="48"/>
                    <a:pt x="928" y="67"/>
                    <a:pt x="922" y="89"/>
                  </a:cubicBezTo>
                  <a:cubicBezTo>
                    <a:pt x="936" y="96"/>
                    <a:pt x="956" y="106"/>
                    <a:pt x="977" y="117"/>
                  </a:cubicBezTo>
                  <a:cubicBezTo>
                    <a:pt x="1035" y="150"/>
                    <a:pt x="1057" y="173"/>
                    <a:pt x="1053" y="197"/>
                  </a:cubicBezTo>
                  <a:cubicBezTo>
                    <a:pt x="1047" y="230"/>
                    <a:pt x="962" y="314"/>
                    <a:pt x="912" y="361"/>
                  </a:cubicBezTo>
                  <a:cubicBezTo>
                    <a:pt x="911" y="361"/>
                    <a:pt x="911" y="362"/>
                    <a:pt x="911" y="362"/>
                  </a:cubicBezTo>
                  <a:cubicBezTo>
                    <a:pt x="906" y="366"/>
                    <a:pt x="892" y="382"/>
                    <a:pt x="892" y="396"/>
                  </a:cubicBezTo>
                  <a:cubicBezTo>
                    <a:pt x="892" y="399"/>
                    <a:pt x="892" y="407"/>
                    <a:pt x="905" y="418"/>
                  </a:cubicBezTo>
                  <a:cubicBezTo>
                    <a:pt x="939" y="446"/>
                    <a:pt x="1061" y="560"/>
                    <a:pt x="1174" y="707"/>
                  </a:cubicBezTo>
                  <a:cubicBezTo>
                    <a:pt x="1218" y="763"/>
                    <a:pt x="1255" y="818"/>
                    <a:pt x="1287" y="872"/>
                  </a:cubicBezTo>
                  <a:cubicBezTo>
                    <a:pt x="1275" y="891"/>
                    <a:pt x="1270" y="910"/>
                    <a:pt x="1268" y="927"/>
                  </a:cubicBezTo>
                  <a:cubicBezTo>
                    <a:pt x="1127" y="669"/>
                    <a:pt x="881" y="455"/>
                    <a:pt x="877" y="452"/>
                  </a:cubicBezTo>
                  <a:cubicBezTo>
                    <a:pt x="854" y="432"/>
                    <a:pt x="848" y="411"/>
                    <a:pt x="848" y="396"/>
                  </a:cubicBezTo>
                  <a:cubicBezTo>
                    <a:pt x="848" y="360"/>
                    <a:pt x="877" y="333"/>
                    <a:pt x="882" y="329"/>
                  </a:cubicBezTo>
                  <a:cubicBezTo>
                    <a:pt x="936" y="278"/>
                    <a:pt x="997" y="214"/>
                    <a:pt x="1009" y="192"/>
                  </a:cubicBezTo>
                  <a:cubicBezTo>
                    <a:pt x="998" y="179"/>
                    <a:pt x="953" y="152"/>
                    <a:pt x="904" y="129"/>
                  </a:cubicBezTo>
                  <a:cubicBezTo>
                    <a:pt x="861" y="212"/>
                    <a:pt x="839" y="260"/>
                    <a:pt x="839" y="260"/>
                  </a:cubicBezTo>
                  <a:cubicBezTo>
                    <a:pt x="835" y="268"/>
                    <a:pt x="827" y="273"/>
                    <a:pt x="819" y="273"/>
                  </a:cubicBezTo>
                  <a:cubicBezTo>
                    <a:pt x="816" y="273"/>
                    <a:pt x="813" y="273"/>
                    <a:pt x="810" y="271"/>
                  </a:cubicBezTo>
                  <a:cubicBezTo>
                    <a:pt x="799" y="266"/>
                    <a:pt x="794" y="253"/>
                    <a:pt x="799" y="242"/>
                  </a:cubicBezTo>
                  <a:cubicBezTo>
                    <a:pt x="800" y="240"/>
                    <a:pt x="824" y="188"/>
                    <a:pt x="871" y="98"/>
                  </a:cubicBezTo>
                  <a:cubicBezTo>
                    <a:pt x="881" y="78"/>
                    <a:pt x="884" y="63"/>
                    <a:pt x="880" y="56"/>
                  </a:cubicBezTo>
                  <a:cubicBezTo>
                    <a:pt x="874" y="46"/>
                    <a:pt x="852" y="44"/>
                    <a:pt x="844" y="44"/>
                  </a:cubicBezTo>
                  <a:cubicBezTo>
                    <a:pt x="843" y="44"/>
                    <a:pt x="843" y="44"/>
                    <a:pt x="843" y="44"/>
                  </a:cubicBezTo>
                  <a:cubicBezTo>
                    <a:pt x="570" y="44"/>
                    <a:pt x="570" y="44"/>
                    <a:pt x="570" y="44"/>
                  </a:cubicBezTo>
                  <a:cubicBezTo>
                    <a:pt x="570" y="44"/>
                    <a:pt x="569" y="44"/>
                    <a:pt x="569" y="44"/>
                  </a:cubicBezTo>
                  <a:cubicBezTo>
                    <a:pt x="560" y="44"/>
                    <a:pt x="539" y="46"/>
                    <a:pt x="533" y="56"/>
                  </a:cubicBezTo>
                  <a:cubicBezTo>
                    <a:pt x="529" y="63"/>
                    <a:pt x="532" y="78"/>
                    <a:pt x="542" y="98"/>
                  </a:cubicBezTo>
                  <a:cubicBezTo>
                    <a:pt x="589" y="188"/>
                    <a:pt x="613" y="240"/>
                    <a:pt x="614" y="242"/>
                  </a:cubicBezTo>
                  <a:cubicBezTo>
                    <a:pt x="619" y="253"/>
                    <a:pt x="614" y="266"/>
                    <a:pt x="603" y="271"/>
                  </a:cubicBezTo>
                  <a:cubicBezTo>
                    <a:pt x="592" y="276"/>
                    <a:pt x="579" y="271"/>
                    <a:pt x="574" y="260"/>
                  </a:cubicBezTo>
                  <a:cubicBezTo>
                    <a:pt x="574" y="260"/>
                    <a:pt x="552" y="212"/>
                    <a:pt x="509" y="129"/>
                  </a:cubicBezTo>
                  <a:cubicBezTo>
                    <a:pt x="460" y="152"/>
                    <a:pt x="415" y="179"/>
                    <a:pt x="404" y="192"/>
                  </a:cubicBezTo>
                  <a:cubicBezTo>
                    <a:pt x="415" y="214"/>
                    <a:pt x="477" y="278"/>
                    <a:pt x="531" y="329"/>
                  </a:cubicBezTo>
                  <a:cubicBezTo>
                    <a:pt x="536" y="333"/>
                    <a:pt x="565" y="360"/>
                    <a:pt x="565" y="396"/>
                  </a:cubicBezTo>
                  <a:cubicBezTo>
                    <a:pt x="565" y="411"/>
                    <a:pt x="559" y="432"/>
                    <a:pt x="536" y="452"/>
                  </a:cubicBezTo>
                  <a:cubicBezTo>
                    <a:pt x="531" y="456"/>
                    <a:pt x="50" y="873"/>
                    <a:pt x="50" y="1246"/>
                  </a:cubicBezTo>
                  <a:cubicBezTo>
                    <a:pt x="50" y="1246"/>
                    <a:pt x="50" y="1247"/>
                    <a:pt x="50" y="1247"/>
                  </a:cubicBezTo>
                  <a:cubicBezTo>
                    <a:pt x="50" y="1248"/>
                    <a:pt x="42" y="1380"/>
                    <a:pt x="130" y="1473"/>
                  </a:cubicBezTo>
                  <a:cubicBezTo>
                    <a:pt x="189" y="1537"/>
                    <a:pt x="279" y="1569"/>
                    <a:pt x="397" y="1569"/>
                  </a:cubicBezTo>
                  <a:cubicBezTo>
                    <a:pt x="1016" y="1569"/>
                    <a:pt x="1016" y="1569"/>
                    <a:pt x="1016" y="1569"/>
                  </a:cubicBezTo>
                  <a:cubicBezTo>
                    <a:pt x="1022" y="1569"/>
                    <a:pt x="1028" y="1569"/>
                    <a:pt x="1034" y="1569"/>
                  </a:cubicBezTo>
                  <a:lnTo>
                    <a:pt x="1034" y="1613"/>
                  </a:lnTo>
                  <a:close/>
                  <a:moveTo>
                    <a:pt x="1631" y="1398"/>
                  </a:moveTo>
                  <a:cubicBezTo>
                    <a:pt x="1631" y="1618"/>
                    <a:pt x="1631" y="1618"/>
                    <a:pt x="1631" y="1618"/>
                  </a:cubicBezTo>
                  <a:cubicBezTo>
                    <a:pt x="1631" y="1658"/>
                    <a:pt x="1610" y="1711"/>
                    <a:pt x="1509" y="1736"/>
                  </a:cubicBezTo>
                  <a:cubicBezTo>
                    <a:pt x="1467" y="1746"/>
                    <a:pt x="1412" y="1752"/>
                    <a:pt x="1355" y="1752"/>
                  </a:cubicBezTo>
                  <a:cubicBezTo>
                    <a:pt x="1298" y="1752"/>
                    <a:pt x="1243" y="1746"/>
                    <a:pt x="1201" y="1736"/>
                  </a:cubicBezTo>
                  <a:cubicBezTo>
                    <a:pt x="1188" y="1733"/>
                    <a:pt x="1161" y="1726"/>
                    <a:pt x="1136" y="1712"/>
                  </a:cubicBezTo>
                  <a:cubicBezTo>
                    <a:pt x="1099" y="1690"/>
                    <a:pt x="1078" y="1657"/>
                    <a:pt x="1078" y="1618"/>
                  </a:cubicBezTo>
                  <a:cubicBezTo>
                    <a:pt x="1078" y="1398"/>
                    <a:pt x="1078" y="1398"/>
                    <a:pt x="1078" y="1398"/>
                  </a:cubicBezTo>
                  <a:cubicBezTo>
                    <a:pt x="1078" y="1358"/>
                    <a:pt x="1099" y="1305"/>
                    <a:pt x="1201" y="1280"/>
                  </a:cubicBezTo>
                  <a:cubicBezTo>
                    <a:pt x="1243" y="1270"/>
                    <a:pt x="1298" y="1264"/>
                    <a:pt x="1355" y="1264"/>
                  </a:cubicBezTo>
                  <a:cubicBezTo>
                    <a:pt x="1412" y="1264"/>
                    <a:pt x="1467" y="1270"/>
                    <a:pt x="1509" y="1280"/>
                  </a:cubicBezTo>
                  <a:cubicBezTo>
                    <a:pt x="1522" y="1283"/>
                    <a:pt x="1548" y="1290"/>
                    <a:pt x="1573" y="1304"/>
                  </a:cubicBezTo>
                  <a:cubicBezTo>
                    <a:pt x="1611" y="1326"/>
                    <a:pt x="1631" y="1360"/>
                    <a:pt x="1631" y="1398"/>
                  </a:cubicBezTo>
                  <a:close/>
                  <a:moveTo>
                    <a:pt x="1587" y="1398"/>
                  </a:moveTo>
                  <a:cubicBezTo>
                    <a:pt x="1587" y="1344"/>
                    <a:pt x="1520" y="1328"/>
                    <a:pt x="1498" y="1323"/>
                  </a:cubicBezTo>
                  <a:cubicBezTo>
                    <a:pt x="1459" y="1313"/>
                    <a:pt x="1408" y="1308"/>
                    <a:pt x="1355" y="1308"/>
                  </a:cubicBezTo>
                  <a:cubicBezTo>
                    <a:pt x="1301" y="1308"/>
                    <a:pt x="1250" y="1313"/>
                    <a:pt x="1211" y="1323"/>
                  </a:cubicBezTo>
                  <a:cubicBezTo>
                    <a:pt x="1189" y="1328"/>
                    <a:pt x="1122" y="1344"/>
                    <a:pt x="1122" y="1398"/>
                  </a:cubicBezTo>
                  <a:cubicBezTo>
                    <a:pt x="1122" y="1618"/>
                    <a:pt x="1122" y="1618"/>
                    <a:pt x="1122" y="1618"/>
                  </a:cubicBezTo>
                  <a:cubicBezTo>
                    <a:pt x="1122" y="1672"/>
                    <a:pt x="1189" y="1688"/>
                    <a:pt x="1211" y="1693"/>
                  </a:cubicBezTo>
                  <a:cubicBezTo>
                    <a:pt x="1250" y="1703"/>
                    <a:pt x="1301" y="1708"/>
                    <a:pt x="1355" y="1708"/>
                  </a:cubicBezTo>
                  <a:cubicBezTo>
                    <a:pt x="1408" y="1708"/>
                    <a:pt x="1459" y="1703"/>
                    <a:pt x="1498" y="1693"/>
                  </a:cubicBezTo>
                  <a:cubicBezTo>
                    <a:pt x="1520" y="1688"/>
                    <a:pt x="1587" y="1672"/>
                    <a:pt x="1587" y="1618"/>
                  </a:cubicBezTo>
                  <a:lnTo>
                    <a:pt x="1587" y="1398"/>
                  </a:lnTo>
                  <a:close/>
                  <a:moveTo>
                    <a:pt x="1806" y="853"/>
                  </a:moveTo>
                  <a:cubicBezTo>
                    <a:pt x="1781" y="838"/>
                    <a:pt x="1754" y="832"/>
                    <a:pt x="1741" y="828"/>
                  </a:cubicBezTo>
                  <a:cubicBezTo>
                    <a:pt x="1699" y="818"/>
                    <a:pt x="1644" y="812"/>
                    <a:pt x="1587" y="812"/>
                  </a:cubicBezTo>
                  <a:cubicBezTo>
                    <a:pt x="1530" y="812"/>
                    <a:pt x="1475" y="818"/>
                    <a:pt x="1433" y="828"/>
                  </a:cubicBezTo>
                  <a:cubicBezTo>
                    <a:pt x="1332" y="853"/>
                    <a:pt x="1311" y="906"/>
                    <a:pt x="1311" y="946"/>
                  </a:cubicBezTo>
                  <a:cubicBezTo>
                    <a:pt x="1311" y="1221"/>
                    <a:pt x="1311" y="1221"/>
                    <a:pt x="1311" y="1221"/>
                  </a:cubicBezTo>
                  <a:cubicBezTo>
                    <a:pt x="1325" y="1221"/>
                    <a:pt x="1340" y="1220"/>
                    <a:pt x="1355" y="1220"/>
                  </a:cubicBezTo>
                  <a:cubicBezTo>
                    <a:pt x="1355" y="1220"/>
                    <a:pt x="1355" y="1220"/>
                    <a:pt x="1355" y="1220"/>
                  </a:cubicBezTo>
                  <a:cubicBezTo>
                    <a:pt x="1355" y="946"/>
                    <a:pt x="1355" y="946"/>
                    <a:pt x="1355" y="946"/>
                  </a:cubicBezTo>
                  <a:cubicBezTo>
                    <a:pt x="1355" y="893"/>
                    <a:pt x="1422" y="877"/>
                    <a:pt x="1444" y="871"/>
                  </a:cubicBezTo>
                  <a:cubicBezTo>
                    <a:pt x="1482" y="862"/>
                    <a:pt x="1533" y="856"/>
                    <a:pt x="1587" y="856"/>
                  </a:cubicBezTo>
                  <a:cubicBezTo>
                    <a:pt x="1641" y="856"/>
                    <a:pt x="1692" y="862"/>
                    <a:pt x="1731" y="871"/>
                  </a:cubicBezTo>
                  <a:cubicBezTo>
                    <a:pt x="1753" y="877"/>
                    <a:pt x="1820" y="893"/>
                    <a:pt x="1820" y="946"/>
                  </a:cubicBezTo>
                  <a:cubicBezTo>
                    <a:pt x="1820" y="1505"/>
                    <a:pt x="1820" y="1505"/>
                    <a:pt x="1820" y="1505"/>
                  </a:cubicBezTo>
                  <a:cubicBezTo>
                    <a:pt x="1820" y="1558"/>
                    <a:pt x="1753" y="1575"/>
                    <a:pt x="1731" y="1580"/>
                  </a:cubicBezTo>
                  <a:cubicBezTo>
                    <a:pt x="1714" y="1584"/>
                    <a:pt x="1696" y="1587"/>
                    <a:pt x="1675" y="1590"/>
                  </a:cubicBezTo>
                  <a:cubicBezTo>
                    <a:pt x="1675" y="1618"/>
                    <a:pt x="1675" y="1618"/>
                    <a:pt x="1675" y="1618"/>
                  </a:cubicBezTo>
                  <a:cubicBezTo>
                    <a:pt x="1675" y="1623"/>
                    <a:pt x="1675" y="1628"/>
                    <a:pt x="1674" y="1634"/>
                  </a:cubicBezTo>
                  <a:cubicBezTo>
                    <a:pt x="1699" y="1631"/>
                    <a:pt x="1721" y="1628"/>
                    <a:pt x="1741" y="1623"/>
                  </a:cubicBezTo>
                  <a:cubicBezTo>
                    <a:pt x="1843" y="1598"/>
                    <a:pt x="1864" y="1545"/>
                    <a:pt x="1864" y="1505"/>
                  </a:cubicBezTo>
                  <a:cubicBezTo>
                    <a:pt x="1864" y="946"/>
                    <a:pt x="1864" y="946"/>
                    <a:pt x="1864" y="946"/>
                  </a:cubicBezTo>
                  <a:cubicBezTo>
                    <a:pt x="1864" y="908"/>
                    <a:pt x="1843" y="875"/>
                    <a:pt x="1806" y="85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solidFill>
                  <a:srgbClr val="FF0000"/>
                </a:solidFill>
                <a:latin typeface="Arial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09E17C19-D989-F703-B79E-3639A6FEEB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89447" y="3074670"/>
              <a:ext cx="1210437" cy="917067"/>
            </a:xfrm>
            <a:custGeom>
              <a:avLst/>
              <a:gdLst>
                <a:gd name="T0" fmla="*/ 936 w 1696"/>
                <a:gd name="T1" fmla="*/ 1153 h 1284"/>
                <a:gd name="T2" fmla="*/ 76 w 1696"/>
                <a:gd name="T3" fmla="*/ 1069 h 1284"/>
                <a:gd name="T4" fmla="*/ 6 w 1696"/>
                <a:gd name="T5" fmla="*/ 866 h 1284"/>
                <a:gd name="T6" fmla="*/ 479 w 1696"/>
                <a:gd name="T7" fmla="*/ 99 h 1284"/>
                <a:gd name="T8" fmla="*/ 520 w 1696"/>
                <a:gd name="T9" fmla="*/ 3 h 1284"/>
                <a:gd name="T10" fmla="*/ 733 w 1696"/>
                <a:gd name="T11" fmla="*/ 3 h 1284"/>
                <a:gd name="T12" fmla="*/ 774 w 1696"/>
                <a:gd name="T13" fmla="*/ 99 h 1284"/>
                <a:gd name="T14" fmla="*/ 1187 w 1696"/>
                <a:gd name="T15" fmla="*/ 626 h 1284"/>
                <a:gd name="T16" fmla="*/ 1110 w 1696"/>
                <a:gd name="T17" fmla="*/ 857 h 1284"/>
                <a:gd name="T18" fmla="*/ 954 w 1696"/>
                <a:gd name="T19" fmla="*/ 1153 h 1284"/>
                <a:gd name="T20" fmla="*/ 1651 w 1696"/>
                <a:gd name="T21" fmla="*/ 754 h 1284"/>
                <a:gd name="T22" fmla="*/ 1364 w 1696"/>
                <a:gd name="T23" fmla="*/ 754 h 1284"/>
                <a:gd name="T24" fmla="*/ 1319 w 1696"/>
                <a:gd name="T25" fmla="*/ 788 h 1284"/>
                <a:gd name="T26" fmla="*/ 1319 w 1696"/>
                <a:gd name="T27" fmla="*/ 790 h 1284"/>
                <a:gd name="T28" fmla="*/ 1507 w 1696"/>
                <a:gd name="T29" fmla="*/ 836 h 1284"/>
                <a:gd name="T30" fmla="*/ 1696 w 1696"/>
                <a:gd name="T31" fmla="*/ 790 h 1284"/>
                <a:gd name="T32" fmla="*/ 1696 w 1696"/>
                <a:gd name="T33" fmla="*/ 788 h 1284"/>
                <a:gd name="T34" fmla="*/ 1507 w 1696"/>
                <a:gd name="T35" fmla="*/ 656 h 1284"/>
                <a:gd name="T36" fmla="*/ 1319 w 1696"/>
                <a:gd name="T37" fmla="*/ 626 h 1284"/>
                <a:gd name="T38" fmla="*/ 1319 w 1696"/>
                <a:gd name="T39" fmla="*/ 675 h 1284"/>
                <a:gd name="T40" fmla="*/ 1319 w 1696"/>
                <a:gd name="T41" fmla="*/ 678 h 1284"/>
                <a:gd name="T42" fmla="*/ 1696 w 1696"/>
                <a:gd name="T43" fmla="*/ 678 h 1284"/>
                <a:gd name="T44" fmla="*/ 1695 w 1696"/>
                <a:gd name="T45" fmla="*/ 675 h 1284"/>
                <a:gd name="T46" fmla="*/ 1696 w 1696"/>
                <a:gd name="T47" fmla="*/ 626 h 1284"/>
                <a:gd name="T48" fmla="*/ 1507 w 1696"/>
                <a:gd name="T49" fmla="*/ 656 h 1284"/>
                <a:gd name="T50" fmla="*/ 1131 w 1696"/>
                <a:gd name="T51" fmla="*/ 1091 h 1284"/>
                <a:gd name="T52" fmla="*/ 1086 w 1696"/>
                <a:gd name="T53" fmla="*/ 1125 h 1284"/>
                <a:gd name="T54" fmla="*/ 1086 w 1696"/>
                <a:gd name="T55" fmla="*/ 1128 h 1284"/>
                <a:gd name="T56" fmla="*/ 1275 w 1696"/>
                <a:gd name="T57" fmla="*/ 1174 h 1284"/>
                <a:gd name="T58" fmla="*/ 1463 w 1696"/>
                <a:gd name="T59" fmla="*/ 1128 h 1284"/>
                <a:gd name="T60" fmla="*/ 1463 w 1696"/>
                <a:gd name="T61" fmla="*/ 1125 h 1284"/>
                <a:gd name="T62" fmla="*/ 1418 w 1696"/>
                <a:gd name="T63" fmla="*/ 1091 h 1284"/>
                <a:gd name="T64" fmla="*/ 1418 w 1696"/>
                <a:gd name="T65" fmla="*/ 1203 h 1284"/>
                <a:gd name="T66" fmla="*/ 1131 w 1696"/>
                <a:gd name="T67" fmla="*/ 1203 h 1284"/>
                <a:gd name="T68" fmla="*/ 1086 w 1696"/>
                <a:gd name="T69" fmla="*/ 1237 h 1284"/>
                <a:gd name="T70" fmla="*/ 1086 w 1696"/>
                <a:gd name="T71" fmla="*/ 1239 h 1284"/>
                <a:gd name="T72" fmla="*/ 1463 w 1696"/>
                <a:gd name="T73" fmla="*/ 1239 h 1284"/>
                <a:gd name="T74" fmla="*/ 1463 w 1696"/>
                <a:gd name="T75" fmla="*/ 1237 h 1284"/>
                <a:gd name="T76" fmla="*/ 1418 w 1696"/>
                <a:gd name="T77" fmla="*/ 1203 h 1284"/>
                <a:gd name="T78" fmla="*/ 1463 w 1696"/>
                <a:gd name="T79" fmla="*/ 1017 h 1284"/>
                <a:gd name="T80" fmla="*/ 1086 w 1696"/>
                <a:gd name="T81" fmla="*/ 1017 h 1284"/>
                <a:gd name="T82" fmla="*/ 1696 w 1696"/>
                <a:gd name="T83" fmla="*/ 850 h 1284"/>
                <a:gd name="T84" fmla="*/ 1507 w 1696"/>
                <a:gd name="T85" fmla="*/ 880 h 1284"/>
                <a:gd name="T86" fmla="*/ 1516 w 1696"/>
                <a:gd name="T87" fmla="*/ 886 h 1284"/>
                <a:gd name="T88" fmla="*/ 1696 w 1696"/>
                <a:gd name="T89" fmla="*/ 903 h 1284"/>
                <a:gd name="T90" fmla="*/ 1695 w 1696"/>
                <a:gd name="T91" fmla="*/ 900 h 1284"/>
                <a:gd name="T92" fmla="*/ 1696 w 1696"/>
                <a:gd name="T93" fmla="*/ 850 h 1284"/>
                <a:gd name="T94" fmla="*/ 1651 w 1696"/>
                <a:gd name="T95" fmla="*/ 978 h 1284"/>
                <a:gd name="T96" fmla="*/ 1595 w 1696"/>
                <a:gd name="T97" fmla="*/ 1018 h 1284"/>
                <a:gd name="T98" fmla="*/ 1696 w 1696"/>
                <a:gd name="T99" fmla="*/ 1015 h 1284"/>
                <a:gd name="T100" fmla="*/ 1695 w 1696"/>
                <a:gd name="T101" fmla="*/ 1012 h 1284"/>
                <a:gd name="T102" fmla="*/ 1696 w 1696"/>
                <a:gd name="T103" fmla="*/ 962 h 1284"/>
                <a:gd name="T104" fmla="*/ 1651 w 1696"/>
                <a:gd name="T105" fmla="*/ 1090 h 1284"/>
                <a:gd name="T106" fmla="*/ 1595 w 1696"/>
                <a:gd name="T107" fmla="*/ 1165 h 1284"/>
                <a:gd name="T108" fmla="*/ 1695 w 1696"/>
                <a:gd name="T109" fmla="*/ 1124 h 1284"/>
                <a:gd name="T110" fmla="*/ 1696 w 1696"/>
                <a:gd name="T111" fmla="*/ 1074 h 1284"/>
                <a:gd name="T112" fmla="*/ 1319 w 1696"/>
                <a:gd name="T113" fmla="*/ 566 h 1284"/>
                <a:gd name="T114" fmla="*/ 1507 w 1696"/>
                <a:gd name="T115" fmla="*/ 612 h 1284"/>
                <a:gd name="T116" fmla="*/ 1696 w 1696"/>
                <a:gd name="T117" fmla="*/ 566 h 1284"/>
                <a:gd name="T118" fmla="*/ 1695 w 1696"/>
                <a:gd name="T119" fmla="*/ 563 h 1284"/>
                <a:gd name="T120" fmla="*/ 1319 w 1696"/>
                <a:gd name="T121" fmla="*/ 563 h 1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96" h="1284">
                  <a:moveTo>
                    <a:pt x="954" y="1153"/>
                  </a:moveTo>
                  <a:cubicBezTo>
                    <a:pt x="948" y="1153"/>
                    <a:pt x="942" y="1153"/>
                    <a:pt x="936" y="1153"/>
                  </a:cubicBezTo>
                  <a:cubicBezTo>
                    <a:pt x="317" y="1153"/>
                    <a:pt x="317" y="1153"/>
                    <a:pt x="317" y="1153"/>
                  </a:cubicBezTo>
                  <a:cubicBezTo>
                    <a:pt x="209" y="1153"/>
                    <a:pt x="128" y="1125"/>
                    <a:pt x="76" y="1069"/>
                  </a:cubicBezTo>
                  <a:cubicBezTo>
                    <a:pt x="0" y="988"/>
                    <a:pt x="6" y="870"/>
                    <a:pt x="6" y="870"/>
                  </a:cubicBezTo>
                  <a:cubicBezTo>
                    <a:pt x="6" y="868"/>
                    <a:pt x="6" y="867"/>
                    <a:pt x="6" y="866"/>
                  </a:cubicBezTo>
                  <a:cubicBezTo>
                    <a:pt x="6" y="729"/>
                    <a:pt x="80" y="559"/>
                    <a:pt x="222" y="376"/>
                  </a:cubicBezTo>
                  <a:cubicBezTo>
                    <a:pt x="330" y="234"/>
                    <a:pt x="447" y="126"/>
                    <a:pt x="479" y="99"/>
                  </a:cubicBezTo>
                  <a:cubicBezTo>
                    <a:pt x="505" y="77"/>
                    <a:pt x="520" y="48"/>
                    <a:pt x="520" y="17"/>
                  </a:cubicBezTo>
                  <a:cubicBezTo>
                    <a:pt x="521" y="12"/>
                    <a:pt x="520" y="8"/>
                    <a:pt x="520" y="3"/>
                  </a:cubicBezTo>
                  <a:cubicBezTo>
                    <a:pt x="552" y="1"/>
                    <a:pt x="589" y="0"/>
                    <a:pt x="630" y="0"/>
                  </a:cubicBezTo>
                  <a:cubicBezTo>
                    <a:pt x="668" y="0"/>
                    <a:pt x="703" y="1"/>
                    <a:pt x="733" y="3"/>
                  </a:cubicBezTo>
                  <a:cubicBezTo>
                    <a:pt x="733" y="7"/>
                    <a:pt x="732" y="12"/>
                    <a:pt x="732" y="17"/>
                  </a:cubicBezTo>
                  <a:cubicBezTo>
                    <a:pt x="733" y="48"/>
                    <a:pt x="748" y="77"/>
                    <a:pt x="774" y="99"/>
                  </a:cubicBezTo>
                  <a:cubicBezTo>
                    <a:pt x="806" y="126"/>
                    <a:pt x="922" y="234"/>
                    <a:pt x="1031" y="376"/>
                  </a:cubicBezTo>
                  <a:cubicBezTo>
                    <a:pt x="1098" y="463"/>
                    <a:pt x="1150" y="547"/>
                    <a:pt x="1187" y="626"/>
                  </a:cubicBezTo>
                  <a:cubicBezTo>
                    <a:pt x="1187" y="845"/>
                    <a:pt x="1187" y="845"/>
                    <a:pt x="1187" y="845"/>
                  </a:cubicBezTo>
                  <a:cubicBezTo>
                    <a:pt x="1159" y="847"/>
                    <a:pt x="1133" y="852"/>
                    <a:pt x="1110" y="857"/>
                  </a:cubicBezTo>
                  <a:cubicBezTo>
                    <a:pt x="974" y="890"/>
                    <a:pt x="954" y="972"/>
                    <a:pt x="954" y="1018"/>
                  </a:cubicBezTo>
                  <a:lnTo>
                    <a:pt x="954" y="1153"/>
                  </a:lnTo>
                  <a:close/>
                  <a:moveTo>
                    <a:pt x="1696" y="738"/>
                  </a:moveTo>
                  <a:cubicBezTo>
                    <a:pt x="1684" y="744"/>
                    <a:pt x="1669" y="749"/>
                    <a:pt x="1651" y="754"/>
                  </a:cubicBezTo>
                  <a:cubicBezTo>
                    <a:pt x="1612" y="763"/>
                    <a:pt x="1561" y="768"/>
                    <a:pt x="1507" y="768"/>
                  </a:cubicBezTo>
                  <a:cubicBezTo>
                    <a:pt x="1453" y="768"/>
                    <a:pt x="1402" y="763"/>
                    <a:pt x="1364" y="754"/>
                  </a:cubicBezTo>
                  <a:cubicBezTo>
                    <a:pt x="1346" y="749"/>
                    <a:pt x="1331" y="744"/>
                    <a:pt x="1319" y="738"/>
                  </a:cubicBezTo>
                  <a:cubicBezTo>
                    <a:pt x="1319" y="788"/>
                    <a:pt x="1319" y="788"/>
                    <a:pt x="1319" y="788"/>
                  </a:cubicBezTo>
                  <a:cubicBezTo>
                    <a:pt x="1319" y="788"/>
                    <a:pt x="1319" y="788"/>
                    <a:pt x="1319" y="788"/>
                  </a:cubicBezTo>
                  <a:cubicBezTo>
                    <a:pt x="1319" y="788"/>
                    <a:pt x="1319" y="789"/>
                    <a:pt x="1319" y="790"/>
                  </a:cubicBezTo>
                  <a:cubicBezTo>
                    <a:pt x="1319" y="790"/>
                    <a:pt x="1319" y="790"/>
                    <a:pt x="1319" y="790"/>
                  </a:cubicBezTo>
                  <a:cubicBezTo>
                    <a:pt x="1319" y="816"/>
                    <a:pt x="1403" y="836"/>
                    <a:pt x="1507" y="836"/>
                  </a:cubicBezTo>
                  <a:cubicBezTo>
                    <a:pt x="1611" y="836"/>
                    <a:pt x="1696" y="816"/>
                    <a:pt x="1696" y="790"/>
                  </a:cubicBezTo>
                  <a:cubicBezTo>
                    <a:pt x="1696" y="790"/>
                    <a:pt x="1696" y="790"/>
                    <a:pt x="1696" y="790"/>
                  </a:cubicBezTo>
                  <a:cubicBezTo>
                    <a:pt x="1696" y="789"/>
                    <a:pt x="1696" y="788"/>
                    <a:pt x="1695" y="788"/>
                  </a:cubicBezTo>
                  <a:cubicBezTo>
                    <a:pt x="1696" y="788"/>
                    <a:pt x="1696" y="788"/>
                    <a:pt x="1696" y="788"/>
                  </a:cubicBezTo>
                  <a:lnTo>
                    <a:pt x="1696" y="738"/>
                  </a:lnTo>
                  <a:close/>
                  <a:moveTo>
                    <a:pt x="1507" y="656"/>
                  </a:moveTo>
                  <a:cubicBezTo>
                    <a:pt x="1453" y="656"/>
                    <a:pt x="1402" y="651"/>
                    <a:pt x="1364" y="642"/>
                  </a:cubicBezTo>
                  <a:cubicBezTo>
                    <a:pt x="1346" y="637"/>
                    <a:pt x="1331" y="632"/>
                    <a:pt x="1319" y="626"/>
                  </a:cubicBezTo>
                  <a:cubicBezTo>
                    <a:pt x="1319" y="675"/>
                    <a:pt x="1319" y="675"/>
                    <a:pt x="1319" y="675"/>
                  </a:cubicBezTo>
                  <a:cubicBezTo>
                    <a:pt x="1319" y="675"/>
                    <a:pt x="1319" y="675"/>
                    <a:pt x="1319" y="675"/>
                  </a:cubicBezTo>
                  <a:cubicBezTo>
                    <a:pt x="1319" y="676"/>
                    <a:pt x="1319" y="677"/>
                    <a:pt x="1319" y="678"/>
                  </a:cubicBezTo>
                  <a:cubicBezTo>
                    <a:pt x="1319" y="678"/>
                    <a:pt x="1319" y="678"/>
                    <a:pt x="1319" y="678"/>
                  </a:cubicBezTo>
                  <a:cubicBezTo>
                    <a:pt x="1319" y="704"/>
                    <a:pt x="1403" y="724"/>
                    <a:pt x="1507" y="724"/>
                  </a:cubicBezTo>
                  <a:cubicBezTo>
                    <a:pt x="1611" y="724"/>
                    <a:pt x="1696" y="704"/>
                    <a:pt x="1696" y="678"/>
                  </a:cubicBezTo>
                  <a:cubicBezTo>
                    <a:pt x="1696" y="678"/>
                    <a:pt x="1696" y="678"/>
                    <a:pt x="1696" y="678"/>
                  </a:cubicBezTo>
                  <a:cubicBezTo>
                    <a:pt x="1696" y="677"/>
                    <a:pt x="1696" y="676"/>
                    <a:pt x="1695" y="675"/>
                  </a:cubicBezTo>
                  <a:cubicBezTo>
                    <a:pt x="1696" y="675"/>
                    <a:pt x="1696" y="675"/>
                    <a:pt x="1696" y="675"/>
                  </a:cubicBezTo>
                  <a:cubicBezTo>
                    <a:pt x="1696" y="626"/>
                    <a:pt x="1696" y="626"/>
                    <a:pt x="1696" y="626"/>
                  </a:cubicBezTo>
                  <a:cubicBezTo>
                    <a:pt x="1684" y="632"/>
                    <a:pt x="1669" y="637"/>
                    <a:pt x="1651" y="642"/>
                  </a:cubicBezTo>
                  <a:cubicBezTo>
                    <a:pt x="1612" y="651"/>
                    <a:pt x="1561" y="656"/>
                    <a:pt x="1507" y="656"/>
                  </a:cubicBezTo>
                  <a:close/>
                  <a:moveTo>
                    <a:pt x="1275" y="1106"/>
                  </a:moveTo>
                  <a:cubicBezTo>
                    <a:pt x="1221" y="1106"/>
                    <a:pt x="1170" y="1100"/>
                    <a:pt x="1131" y="1091"/>
                  </a:cubicBezTo>
                  <a:cubicBezTo>
                    <a:pt x="1113" y="1087"/>
                    <a:pt x="1098" y="1082"/>
                    <a:pt x="1086" y="1076"/>
                  </a:cubicBezTo>
                  <a:cubicBezTo>
                    <a:pt x="1086" y="1125"/>
                    <a:pt x="1086" y="1125"/>
                    <a:pt x="1086" y="1125"/>
                  </a:cubicBezTo>
                  <a:cubicBezTo>
                    <a:pt x="1087" y="1125"/>
                    <a:pt x="1087" y="1125"/>
                    <a:pt x="1087" y="1125"/>
                  </a:cubicBezTo>
                  <a:cubicBezTo>
                    <a:pt x="1086" y="1126"/>
                    <a:pt x="1086" y="1127"/>
                    <a:pt x="1086" y="1128"/>
                  </a:cubicBezTo>
                  <a:cubicBezTo>
                    <a:pt x="1086" y="1128"/>
                    <a:pt x="1086" y="1128"/>
                    <a:pt x="1086" y="1128"/>
                  </a:cubicBezTo>
                  <a:cubicBezTo>
                    <a:pt x="1086" y="1153"/>
                    <a:pt x="1171" y="1174"/>
                    <a:pt x="1275" y="1174"/>
                  </a:cubicBezTo>
                  <a:cubicBezTo>
                    <a:pt x="1379" y="1174"/>
                    <a:pt x="1463" y="1153"/>
                    <a:pt x="1463" y="1128"/>
                  </a:cubicBezTo>
                  <a:cubicBezTo>
                    <a:pt x="1463" y="1128"/>
                    <a:pt x="1463" y="1128"/>
                    <a:pt x="1463" y="1128"/>
                  </a:cubicBezTo>
                  <a:cubicBezTo>
                    <a:pt x="1463" y="1127"/>
                    <a:pt x="1463" y="1126"/>
                    <a:pt x="1463" y="1125"/>
                  </a:cubicBezTo>
                  <a:cubicBezTo>
                    <a:pt x="1463" y="1125"/>
                    <a:pt x="1463" y="1125"/>
                    <a:pt x="1463" y="1125"/>
                  </a:cubicBezTo>
                  <a:cubicBezTo>
                    <a:pt x="1463" y="1076"/>
                    <a:pt x="1463" y="1076"/>
                    <a:pt x="1463" y="1076"/>
                  </a:cubicBezTo>
                  <a:cubicBezTo>
                    <a:pt x="1451" y="1082"/>
                    <a:pt x="1436" y="1087"/>
                    <a:pt x="1418" y="1091"/>
                  </a:cubicBezTo>
                  <a:cubicBezTo>
                    <a:pt x="1379" y="1100"/>
                    <a:pt x="1328" y="1106"/>
                    <a:pt x="1275" y="1106"/>
                  </a:cubicBezTo>
                  <a:close/>
                  <a:moveTo>
                    <a:pt x="1418" y="1203"/>
                  </a:moveTo>
                  <a:cubicBezTo>
                    <a:pt x="1379" y="1213"/>
                    <a:pt x="1328" y="1218"/>
                    <a:pt x="1275" y="1218"/>
                  </a:cubicBezTo>
                  <a:cubicBezTo>
                    <a:pt x="1221" y="1218"/>
                    <a:pt x="1170" y="1213"/>
                    <a:pt x="1131" y="1203"/>
                  </a:cubicBezTo>
                  <a:cubicBezTo>
                    <a:pt x="1113" y="1199"/>
                    <a:pt x="1098" y="1194"/>
                    <a:pt x="1086" y="1188"/>
                  </a:cubicBezTo>
                  <a:cubicBezTo>
                    <a:pt x="1086" y="1237"/>
                    <a:pt x="1086" y="1237"/>
                    <a:pt x="1086" y="1237"/>
                  </a:cubicBezTo>
                  <a:cubicBezTo>
                    <a:pt x="1087" y="1237"/>
                    <a:pt x="1087" y="1237"/>
                    <a:pt x="1087" y="1237"/>
                  </a:cubicBezTo>
                  <a:cubicBezTo>
                    <a:pt x="1086" y="1238"/>
                    <a:pt x="1086" y="1238"/>
                    <a:pt x="1086" y="1239"/>
                  </a:cubicBezTo>
                  <a:cubicBezTo>
                    <a:pt x="1088" y="1264"/>
                    <a:pt x="1172" y="1284"/>
                    <a:pt x="1275" y="1284"/>
                  </a:cubicBezTo>
                  <a:cubicBezTo>
                    <a:pt x="1378" y="1284"/>
                    <a:pt x="1461" y="1264"/>
                    <a:pt x="1463" y="1239"/>
                  </a:cubicBezTo>
                  <a:cubicBezTo>
                    <a:pt x="1463" y="1238"/>
                    <a:pt x="1463" y="1238"/>
                    <a:pt x="1463" y="1237"/>
                  </a:cubicBezTo>
                  <a:cubicBezTo>
                    <a:pt x="1463" y="1237"/>
                    <a:pt x="1463" y="1237"/>
                    <a:pt x="1463" y="1237"/>
                  </a:cubicBezTo>
                  <a:cubicBezTo>
                    <a:pt x="1463" y="1188"/>
                    <a:pt x="1463" y="1188"/>
                    <a:pt x="1463" y="1188"/>
                  </a:cubicBezTo>
                  <a:cubicBezTo>
                    <a:pt x="1451" y="1194"/>
                    <a:pt x="1436" y="1199"/>
                    <a:pt x="1418" y="1203"/>
                  </a:cubicBezTo>
                  <a:close/>
                  <a:moveTo>
                    <a:pt x="1275" y="1062"/>
                  </a:moveTo>
                  <a:cubicBezTo>
                    <a:pt x="1377" y="1062"/>
                    <a:pt x="1461" y="1042"/>
                    <a:pt x="1463" y="1017"/>
                  </a:cubicBezTo>
                  <a:cubicBezTo>
                    <a:pt x="1461" y="992"/>
                    <a:pt x="1377" y="972"/>
                    <a:pt x="1275" y="972"/>
                  </a:cubicBezTo>
                  <a:cubicBezTo>
                    <a:pt x="1172" y="972"/>
                    <a:pt x="1089" y="992"/>
                    <a:pt x="1086" y="1017"/>
                  </a:cubicBezTo>
                  <a:cubicBezTo>
                    <a:pt x="1089" y="1042"/>
                    <a:pt x="1172" y="1062"/>
                    <a:pt x="1275" y="1062"/>
                  </a:cubicBezTo>
                  <a:close/>
                  <a:moveTo>
                    <a:pt x="1696" y="850"/>
                  </a:moveTo>
                  <a:cubicBezTo>
                    <a:pt x="1684" y="856"/>
                    <a:pt x="1669" y="861"/>
                    <a:pt x="1651" y="866"/>
                  </a:cubicBezTo>
                  <a:cubicBezTo>
                    <a:pt x="1612" y="875"/>
                    <a:pt x="1561" y="880"/>
                    <a:pt x="1507" y="880"/>
                  </a:cubicBezTo>
                  <a:cubicBezTo>
                    <a:pt x="1506" y="880"/>
                    <a:pt x="1505" y="880"/>
                    <a:pt x="1504" y="880"/>
                  </a:cubicBezTo>
                  <a:cubicBezTo>
                    <a:pt x="1508" y="882"/>
                    <a:pt x="1512" y="884"/>
                    <a:pt x="1516" y="886"/>
                  </a:cubicBezTo>
                  <a:cubicBezTo>
                    <a:pt x="1542" y="902"/>
                    <a:pt x="1562" y="922"/>
                    <a:pt x="1576" y="945"/>
                  </a:cubicBezTo>
                  <a:cubicBezTo>
                    <a:pt x="1646" y="939"/>
                    <a:pt x="1696" y="922"/>
                    <a:pt x="1696" y="903"/>
                  </a:cubicBezTo>
                  <a:cubicBezTo>
                    <a:pt x="1696" y="903"/>
                    <a:pt x="1696" y="903"/>
                    <a:pt x="1696" y="903"/>
                  </a:cubicBezTo>
                  <a:cubicBezTo>
                    <a:pt x="1696" y="902"/>
                    <a:pt x="1696" y="901"/>
                    <a:pt x="1695" y="900"/>
                  </a:cubicBezTo>
                  <a:cubicBezTo>
                    <a:pt x="1696" y="900"/>
                    <a:pt x="1696" y="900"/>
                    <a:pt x="1696" y="900"/>
                  </a:cubicBezTo>
                  <a:lnTo>
                    <a:pt x="1696" y="850"/>
                  </a:lnTo>
                  <a:close/>
                  <a:moveTo>
                    <a:pt x="1696" y="962"/>
                  </a:moveTo>
                  <a:cubicBezTo>
                    <a:pt x="1684" y="968"/>
                    <a:pt x="1669" y="973"/>
                    <a:pt x="1651" y="978"/>
                  </a:cubicBezTo>
                  <a:cubicBezTo>
                    <a:pt x="1634" y="982"/>
                    <a:pt x="1614" y="985"/>
                    <a:pt x="1592" y="988"/>
                  </a:cubicBezTo>
                  <a:cubicBezTo>
                    <a:pt x="1594" y="998"/>
                    <a:pt x="1595" y="1008"/>
                    <a:pt x="1595" y="1018"/>
                  </a:cubicBezTo>
                  <a:cubicBezTo>
                    <a:pt x="1595" y="1055"/>
                    <a:pt x="1595" y="1055"/>
                    <a:pt x="1595" y="1055"/>
                  </a:cubicBezTo>
                  <a:cubicBezTo>
                    <a:pt x="1655" y="1047"/>
                    <a:pt x="1696" y="1032"/>
                    <a:pt x="1696" y="1015"/>
                  </a:cubicBezTo>
                  <a:cubicBezTo>
                    <a:pt x="1696" y="1015"/>
                    <a:pt x="1696" y="1015"/>
                    <a:pt x="1696" y="1015"/>
                  </a:cubicBezTo>
                  <a:cubicBezTo>
                    <a:pt x="1696" y="1014"/>
                    <a:pt x="1696" y="1013"/>
                    <a:pt x="1695" y="1012"/>
                  </a:cubicBezTo>
                  <a:cubicBezTo>
                    <a:pt x="1696" y="1012"/>
                    <a:pt x="1696" y="1012"/>
                    <a:pt x="1696" y="1012"/>
                  </a:cubicBezTo>
                  <a:lnTo>
                    <a:pt x="1696" y="962"/>
                  </a:lnTo>
                  <a:close/>
                  <a:moveTo>
                    <a:pt x="1696" y="1074"/>
                  </a:moveTo>
                  <a:cubicBezTo>
                    <a:pt x="1684" y="1080"/>
                    <a:pt x="1669" y="1085"/>
                    <a:pt x="1651" y="1090"/>
                  </a:cubicBezTo>
                  <a:cubicBezTo>
                    <a:pt x="1634" y="1094"/>
                    <a:pt x="1616" y="1097"/>
                    <a:pt x="1595" y="1099"/>
                  </a:cubicBezTo>
                  <a:cubicBezTo>
                    <a:pt x="1595" y="1165"/>
                    <a:pt x="1595" y="1165"/>
                    <a:pt x="1595" y="1165"/>
                  </a:cubicBezTo>
                  <a:cubicBezTo>
                    <a:pt x="1654" y="1158"/>
                    <a:pt x="1695" y="1143"/>
                    <a:pt x="1696" y="1126"/>
                  </a:cubicBezTo>
                  <a:cubicBezTo>
                    <a:pt x="1696" y="1125"/>
                    <a:pt x="1696" y="1124"/>
                    <a:pt x="1695" y="1124"/>
                  </a:cubicBezTo>
                  <a:cubicBezTo>
                    <a:pt x="1696" y="1124"/>
                    <a:pt x="1696" y="1124"/>
                    <a:pt x="1696" y="1124"/>
                  </a:cubicBezTo>
                  <a:lnTo>
                    <a:pt x="1696" y="1074"/>
                  </a:lnTo>
                  <a:close/>
                  <a:moveTo>
                    <a:pt x="1319" y="565"/>
                  </a:moveTo>
                  <a:cubicBezTo>
                    <a:pt x="1319" y="565"/>
                    <a:pt x="1319" y="566"/>
                    <a:pt x="1319" y="566"/>
                  </a:cubicBezTo>
                  <a:cubicBezTo>
                    <a:pt x="1319" y="566"/>
                    <a:pt x="1319" y="566"/>
                    <a:pt x="1319" y="566"/>
                  </a:cubicBezTo>
                  <a:cubicBezTo>
                    <a:pt x="1319" y="592"/>
                    <a:pt x="1403" y="612"/>
                    <a:pt x="1507" y="612"/>
                  </a:cubicBezTo>
                  <a:cubicBezTo>
                    <a:pt x="1611" y="612"/>
                    <a:pt x="1696" y="592"/>
                    <a:pt x="1696" y="566"/>
                  </a:cubicBezTo>
                  <a:cubicBezTo>
                    <a:pt x="1696" y="566"/>
                    <a:pt x="1696" y="566"/>
                    <a:pt x="1696" y="566"/>
                  </a:cubicBezTo>
                  <a:cubicBezTo>
                    <a:pt x="1696" y="566"/>
                    <a:pt x="1696" y="565"/>
                    <a:pt x="1696" y="565"/>
                  </a:cubicBezTo>
                  <a:cubicBezTo>
                    <a:pt x="1696" y="564"/>
                    <a:pt x="1695" y="564"/>
                    <a:pt x="1695" y="563"/>
                  </a:cubicBezTo>
                  <a:cubicBezTo>
                    <a:pt x="1689" y="539"/>
                    <a:pt x="1607" y="520"/>
                    <a:pt x="1507" y="520"/>
                  </a:cubicBezTo>
                  <a:cubicBezTo>
                    <a:pt x="1407" y="520"/>
                    <a:pt x="1325" y="539"/>
                    <a:pt x="1319" y="563"/>
                  </a:cubicBezTo>
                  <a:cubicBezTo>
                    <a:pt x="1319" y="564"/>
                    <a:pt x="1319" y="564"/>
                    <a:pt x="1319" y="56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000">
                <a:solidFill>
                  <a:srgbClr val="29BA74"/>
                </a:solidFill>
                <a:latin typeface="Arial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28092BC-C36C-B20C-7DE4-124F01B0B148}"/>
              </a:ext>
            </a:extLst>
          </p:cNvPr>
          <p:cNvGrpSpPr>
            <a:grpSpLocks noChangeAspect="1"/>
          </p:cNvGrpSpPr>
          <p:nvPr/>
        </p:nvGrpSpPr>
        <p:grpSpPr>
          <a:xfrm>
            <a:off x="9214657" y="5177166"/>
            <a:ext cx="1135486" cy="1136582"/>
            <a:chOff x="5273675" y="2514600"/>
            <a:chExt cx="1644650" cy="1646238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3ACB7CF6-871A-BD58-13F6-25AAC52CBC2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514600"/>
              <a:ext cx="1644650" cy="1646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11">
                <a:defRPr/>
              </a:pPr>
              <a:endParaRPr lang="en-US">
                <a:solidFill>
                  <a:prstClr val="black"/>
                </a:solidFill>
                <a:latin typeface="Arial"/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FB8E19-BDEC-4946-31BA-C7FA4534F2E2}"/>
                </a:ext>
              </a:extLst>
            </p:cNvPr>
            <p:cNvGrpSpPr/>
            <p:nvPr/>
          </p:nvGrpSpPr>
          <p:grpSpPr>
            <a:xfrm>
              <a:off x="5439085" y="2789764"/>
              <a:ext cx="1313830" cy="1095911"/>
              <a:chOff x="5437188" y="2790289"/>
              <a:chExt cx="1313830" cy="1095911"/>
            </a:xfrm>
          </p:grpSpPr>
          <p:sp>
            <p:nvSpPr>
              <p:cNvPr id="20" name="Freeform 5">
                <a:extLst>
                  <a:ext uri="{FF2B5EF4-FFF2-40B4-BE49-F238E27FC236}">
                    <a16:creationId xmlns:a16="http://schemas.microsoft.com/office/drawing/2014/main" id="{622871FC-AF6C-A48C-4B2C-2D19A8FA1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7188" y="2790289"/>
                <a:ext cx="741363" cy="1095911"/>
              </a:xfrm>
              <a:custGeom>
                <a:avLst/>
                <a:gdLst>
                  <a:gd name="connsiteX0" fmla="*/ 59994 w 741363"/>
                  <a:gd name="connsiteY0" fmla="*/ 940336 h 1095911"/>
                  <a:gd name="connsiteX1" fmla="*/ 681369 w 741363"/>
                  <a:gd name="connsiteY1" fmla="*/ 940336 h 1095911"/>
                  <a:gd name="connsiteX2" fmla="*/ 697081 w 741363"/>
                  <a:gd name="connsiteY2" fmla="*/ 956182 h 1095911"/>
                  <a:gd name="connsiteX3" fmla="*/ 697081 w 741363"/>
                  <a:gd name="connsiteY3" fmla="*/ 1006600 h 1095911"/>
                  <a:gd name="connsiteX4" fmla="*/ 725650 w 741363"/>
                  <a:gd name="connsiteY4" fmla="*/ 1006600 h 1095911"/>
                  <a:gd name="connsiteX5" fmla="*/ 741363 w 741363"/>
                  <a:gd name="connsiteY5" fmla="*/ 1022445 h 1095911"/>
                  <a:gd name="connsiteX6" fmla="*/ 741363 w 741363"/>
                  <a:gd name="connsiteY6" fmla="*/ 1079345 h 1095911"/>
                  <a:gd name="connsiteX7" fmla="*/ 725650 w 741363"/>
                  <a:gd name="connsiteY7" fmla="*/ 1095911 h 1095911"/>
                  <a:gd name="connsiteX8" fmla="*/ 15713 w 741363"/>
                  <a:gd name="connsiteY8" fmla="*/ 1095911 h 1095911"/>
                  <a:gd name="connsiteX9" fmla="*/ 0 w 741363"/>
                  <a:gd name="connsiteY9" fmla="*/ 1079345 h 1095911"/>
                  <a:gd name="connsiteX10" fmla="*/ 0 w 741363"/>
                  <a:gd name="connsiteY10" fmla="*/ 1022445 h 1095911"/>
                  <a:gd name="connsiteX11" fmla="*/ 15713 w 741363"/>
                  <a:gd name="connsiteY11" fmla="*/ 1006600 h 1095911"/>
                  <a:gd name="connsiteX12" fmla="*/ 44282 w 741363"/>
                  <a:gd name="connsiteY12" fmla="*/ 1006600 h 1095911"/>
                  <a:gd name="connsiteX13" fmla="*/ 44282 w 741363"/>
                  <a:gd name="connsiteY13" fmla="*/ 956182 h 1095911"/>
                  <a:gd name="connsiteX14" fmla="*/ 59994 w 741363"/>
                  <a:gd name="connsiteY14" fmla="*/ 940336 h 1095911"/>
                  <a:gd name="connsiteX15" fmla="*/ 243001 w 741363"/>
                  <a:gd name="connsiteY15" fmla="*/ 537111 h 1095911"/>
                  <a:gd name="connsiteX16" fmla="*/ 257312 w 741363"/>
                  <a:gd name="connsiteY16" fmla="*/ 544981 h 1095911"/>
                  <a:gd name="connsiteX17" fmla="*/ 497021 w 741363"/>
                  <a:gd name="connsiteY17" fmla="*/ 632975 h 1095911"/>
                  <a:gd name="connsiteX18" fmla="*/ 512763 w 741363"/>
                  <a:gd name="connsiteY18" fmla="*/ 635836 h 1095911"/>
                  <a:gd name="connsiteX19" fmla="*/ 501314 w 741363"/>
                  <a:gd name="connsiteY19" fmla="*/ 667314 h 1095911"/>
                  <a:gd name="connsiteX20" fmla="*/ 441208 w 741363"/>
                  <a:gd name="connsiteY20" fmla="*/ 695214 h 1095911"/>
                  <a:gd name="connsiteX21" fmla="*/ 259458 w 741363"/>
                  <a:gd name="connsiteY21" fmla="*/ 628682 h 1095911"/>
                  <a:gd name="connsiteX22" fmla="*/ 231552 w 741363"/>
                  <a:gd name="connsiteY22" fmla="*/ 568589 h 1095911"/>
                  <a:gd name="connsiteX23" fmla="*/ 243001 w 741363"/>
                  <a:gd name="connsiteY23" fmla="*/ 537111 h 1095911"/>
                  <a:gd name="connsiteX24" fmla="*/ 488852 w 741363"/>
                  <a:gd name="connsiteY24" fmla="*/ 2734 h 1095911"/>
                  <a:gd name="connsiteX25" fmla="*/ 670054 w 741363"/>
                  <a:gd name="connsiteY25" fmla="*/ 69694 h 1095911"/>
                  <a:gd name="connsiteX26" fmla="*/ 697876 w 741363"/>
                  <a:gd name="connsiteY26" fmla="*/ 128819 h 1095911"/>
                  <a:gd name="connsiteX27" fmla="*/ 685749 w 741363"/>
                  <a:gd name="connsiteY27" fmla="*/ 160874 h 1095911"/>
                  <a:gd name="connsiteX28" fmla="*/ 672194 w 741363"/>
                  <a:gd name="connsiteY28" fmla="*/ 152326 h 1095911"/>
                  <a:gd name="connsiteX29" fmla="*/ 433207 w 741363"/>
                  <a:gd name="connsiteY29" fmla="*/ 65420 h 1095911"/>
                  <a:gd name="connsiteX30" fmla="*/ 417512 w 741363"/>
                  <a:gd name="connsiteY30" fmla="*/ 62571 h 1095911"/>
                  <a:gd name="connsiteX31" fmla="*/ 428927 w 741363"/>
                  <a:gd name="connsiteY31" fmla="*/ 30516 h 1095911"/>
                  <a:gd name="connsiteX32" fmla="*/ 488852 w 741363"/>
                  <a:gd name="connsiteY32" fmla="*/ 2734 h 1095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741363" h="1095911">
                    <a:moveTo>
                      <a:pt x="59994" y="940336"/>
                    </a:moveTo>
                    <a:cubicBezTo>
                      <a:pt x="59994" y="940336"/>
                      <a:pt x="59994" y="940336"/>
                      <a:pt x="681369" y="940336"/>
                    </a:cubicBezTo>
                    <a:cubicBezTo>
                      <a:pt x="690653" y="940336"/>
                      <a:pt x="697081" y="947539"/>
                      <a:pt x="697081" y="956182"/>
                    </a:cubicBezTo>
                    <a:cubicBezTo>
                      <a:pt x="697081" y="956182"/>
                      <a:pt x="697081" y="956182"/>
                      <a:pt x="697081" y="1006600"/>
                    </a:cubicBezTo>
                    <a:cubicBezTo>
                      <a:pt x="697081" y="1006600"/>
                      <a:pt x="697081" y="1006600"/>
                      <a:pt x="725650" y="1006600"/>
                    </a:cubicBezTo>
                    <a:cubicBezTo>
                      <a:pt x="734221" y="1006600"/>
                      <a:pt x="741363" y="1013802"/>
                      <a:pt x="741363" y="1022445"/>
                    </a:cubicBezTo>
                    <a:cubicBezTo>
                      <a:pt x="741363" y="1022445"/>
                      <a:pt x="741363" y="1022445"/>
                      <a:pt x="741363" y="1079345"/>
                    </a:cubicBezTo>
                    <a:cubicBezTo>
                      <a:pt x="741363" y="1088709"/>
                      <a:pt x="734221" y="1095911"/>
                      <a:pt x="725650" y="1095911"/>
                    </a:cubicBezTo>
                    <a:cubicBezTo>
                      <a:pt x="725650" y="1095911"/>
                      <a:pt x="725650" y="1095911"/>
                      <a:pt x="15713" y="1095911"/>
                    </a:cubicBezTo>
                    <a:cubicBezTo>
                      <a:pt x="7142" y="1095911"/>
                      <a:pt x="0" y="1088709"/>
                      <a:pt x="0" y="1079345"/>
                    </a:cubicBezTo>
                    <a:cubicBezTo>
                      <a:pt x="0" y="1079345"/>
                      <a:pt x="0" y="1079345"/>
                      <a:pt x="0" y="1022445"/>
                    </a:cubicBezTo>
                    <a:cubicBezTo>
                      <a:pt x="0" y="1013802"/>
                      <a:pt x="7142" y="1006600"/>
                      <a:pt x="15713" y="1006600"/>
                    </a:cubicBezTo>
                    <a:cubicBezTo>
                      <a:pt x="15713" y="1006600"/>
                      <a:pt x="15713" y="1006600"/>
                      <a:pt x="44282" y="1006600"/>
                    </a:cubicBezTo>
                    <a:cubicBezTo>
                      <a:pt x="44282" y="1006600"/>
                      <a:pt x="44282" y="1006600"/>
                      <a:pt x="44282" y="956182"/>
                    </a:cubicBezTo>
                    <a:cubicBezTo>
                      <a:pt x="44282" y="947539"/>
                      <a:pt x="51424" y="940336"/>
                      <a:pt x="59994" y="940336"/>
                    </a:cubicBezTo>
                    <a:close/>
                    <a:moveTo>
                      <a:pt x="243001" y="537111"/>
                    </a:moveTo>
                    <a:cubicBezTo>
                      <a:pt x="247294" y="539973"/>
                      <a:pt x="251587" y="542834"/>
                      <a:pt x="257312" y="544981"/>
                    </a:cubicBezTo>
                    <a:cubicBezTo>
                      <a:pt x="257312" y="544981"/>
                      <a:pt x="257312" y="544981"/>
                      <a:pt x="497021" y="632975"/>
                    </a:cubicBezTo>
                    <a:cubicBezTo>
                      <a:pt x="502030" y="634405"/>
                      <a:pt x="507039" y="635836"/>
                      <a:pt x="512763" y="635836"/>
                    </a:cubicBezTo>
                    <a:cubicBezTo>
                      <a:pt x="512763" y="635836"/>
                      <a:pt x="512763" y="635836"/>
                      <a:pt x="501314" y="667314"/>
                    </a:cubicBezTo>
                    <a:cubicBezTo>
                      <a:pt x="492012" y="691637"/>
                      <a:pt x="465537" y="703799"/>
                      <a:pt x="441208" y="695214"/>
                    </a:cubicBezTo>
                    <a:cubicBezTo>
                      <a:pt x="441208" y="695214"/>
                      <a:pt x="441208" y="695214"/>
                      <a:pt x="259458" y="628682"/>
                    </a:cubicBezTo>
                    <a:cubicBezTo>
                      <a:pt x="235130" y="619382"/>
                      <a:pt x="222250" y="592912"/>
                      <a:pt x="231552" y="568589"/>
                    </a:cubicBezTo>
                    <a:cubicBezTo>
                      <a:pt x="231552" y="568589"/>
                      <a:pt x="231552" y="568589"/>
                      <a:pt x="243001" y="537111"/>
                    </a:cubicBezTo>
                    <a:close/>
                    <a:moveTo>
                      <a:pt x="488852" y="2734"/>
                    </a:moveTo>
                    <a:cubicBezTo>
                      <a:pt x="488852" y="2734"/>
                      <a:pt x="488852" y="2734"/>
                      <a:pt x="670054" y="69694"/>
                    </a:cubicBezTo>
                    <a:cubicBezTo>
                      <a:pt x="694310" y="78242"/>
                      <a:pt x="706437" y="104599"/>
                      <a:pt x="697876" y="128819"/>
                    </a:cubicBezTo>
                    <a:cubicBezTo>
                      <a:pt x="697876" y="128819"/>
                      <a:pt x="697876" y="128819"/>
                      <a:pt x="685749" y="160874"/>
                    </a:cubicBezTo>
                    <a:cubicBezTo>
                      <a:pt x="682182" y="157312"/>
                      <a:pt x="677188" y="154463"/>
                      <a:pt x="672194" y="152326"/>
                    </a:cubicBezTo>
                    <a:lnTo>
                      <a:pt x="433207" y="65420"/>
                    </a:lnTo>
                    <a:cubicBezTo>
                      <a:pt x="428213" y="63283"/>
                      <a:pt x="422506" y="62571"/>
                      <a:pt x="417512" y="62571"/>
                    </a:cubicBezTo>
                    <a:cubicBezTo>
                      <a:pt x="417512" y="62571"/>
                      <a:pt x="417512" y="62571"/>
                      <a:pt x="428927" y="30516"/>
                    </a:cubicBezTo>
                    <a:cubicBezTo>
                      <a:pt x="437487" y="6296"/>
                      <a:pt x="464596" y="-5814"/>
                      <a:pt x="488852" y="273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411">
                  <a:defRPr/>
                </a:pPr>
                <a:endParaRPr lang="en-US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43ABA47B-B4F5-1D33-646F-BED1F05EC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5077" y="2883282"/>
                <a:ext cx="1055941" cy="616303"/>
              </a:xfrm>
              <a:custGeom>
                <a:avLst/>
                <a:gdLst>
                  <a:gd name="connsiteX0" fmla="*/ 387558 w 1055941"/>
                  <a:gd name="connsiteY0" fmla="*/ 269493 h 616303"/>
                  <a:gd name="connsiteX1" fmla="*/ 393981 w 1055941"/>
                  <a:gd name="connsiteY1" fmla="*/ 270920 h 616303"/>
                  <a:gd name="connsiteX2" fmla="*/ 1027064 w 1055941"/>
                  <a:gd name="connsiteY2" fmla="*/ 482090 h 616303"/>
                  <a:gd name="connsiteX3" fmla="*/ 1053472 w 1055941"/>
                  <a:gd name="connsiteY3" fmla="*/ 537022 h 616303"/>
                  <a:gd name="connsiteX4" fmla="*/ 1034201 w 1055941"/>
                  <a:gd name="connsiteY4" fmla="*/ 589101 h 616303"/>
                  <a:gd name="connsiteX5" fmla="*/ 979244 w 1055941"/>
                  <a:gd name="connsiteY5" fmla="*/ 613357 h 616303"/>
                  <a:gd name="connsiteX6" fmla="*/ 359008 w 1055941"/>
                  <a:gd name="connsiteY6" fmla="*/ 365090 h 616303"/>
                  <a:gd name="connsiteX7" fmla="*/ 353298 w 1055941"/>
                  <a:gd name="connsiteY7" fmla="*/ 361523 h 616303"/>
                  <a:gd name="connsiteX8" fmla="*/ 387558 w 1055941"/>
                  <a:gd name="connsiteY8" fmla="*/ 269493 h 616303"/>
                  <a:gd name="connsiteX9" fmla="*/ 164418 w 1055941"/>
                  <a:gd name="connsiteY9" fmla="*/ 889 h 616303"/>
                  <a:gd name="connsiteX10" fmla="*/ 403099 w 1055941"/>
                  <a:gd name="connsiteY10" fmla="*/ 88757 h 616303"/>
                  <a:gd name="connsiteX11" fmla="*/ 412361 w 1055941"/>
                  <a:gd name="connsiteY11" fmla="*/ 108759 h 616303"/>
                  <a:gd name="connsiteX12" fmla="*/ 326151 w 1055941"/>
                  <a:gd name="connsiteY12" fmla="*/ 343789 h 616303"/>
                  <a:gd name="connsiteX13" fmla="*/ 269153 w 1055941"/>
                  <a:gd name="connsiteY13" fmla="*/ 499522 h 616303"/>
                  <a:gd name="connsiteX14" fmla="*/ 249204 w 1055941"/>
                  <a:gd name="connsiteY14" fmla="*/ 508809 h 616303"/>
                  <a:gd name="connsiteX15" fmla="*/ 10523 w 1055941"/>
                  <a:gd name="connsiteY15" fmla="*/ 421656 h 616303"/>
                  <a:gd name="connsiteX16" fmla="*/ 1261 w 1055941"/>
                  <a:gd name="connsiteY16" fmla="*/ 400939 h 616303"/>
                  <a:gd name="connsiteX17" fmla="*/ 143757 w 1055941"/>
                  <a:gd name="connsiteY17" fmla="*/ 10176 h 616303"/>
                  <a:gd name="connsiteX18" fmla="*/ 164418 w 1055941"/>
                  <a:gd name="connsiteY18" fmla="*/ 889 h 616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55941" h="616303">
                    <a:moveTo>
                      <a:pt x="387558" y="269493"/>
                    </a:moveTo>
                    <a:cubicBezTo>
                      <a:pt x="389699" y="269493"/>
                      <a:pt x="391840" y="270207"/>
                      <a:pt x="393981" y="270920"/>
                    </a:cubicBezTo>
                    <a:cubicBezTo>
                      <a:pt x="393981" y="270920"/>
                      <a:pt x="393981" y="270920"/>
                      <a:pt x="1027064" y="482090"/>
                    </a:cubicBezTo>
                    <a:cubicBezTo>
                      <a:pt x="1049903" y="489937"/>
                      <a:pt x="1061323" y="514193"/>
                      <a:pt x="1053472" y="537022"/>
                    </a:cubicBezTo>
                    <a:cubicBezTo>
                      <a:pt x="1053472" y="537022"/>
                      <a:pt x="1053472" y="537022"/>
                      <a:pt x="1034201" y="589101"/>
                    </a:cubicBezTo>
                    <a:cubicBezTo>
                      <a:pt x="1026350" y="611217"/>
                      <a:pt x="1001369" y="621918"/>
                      <a:pt x="979244" y="613357"/>
                    </a:cubicBezTo>
                    <a:cubicBezTo>
                      <a:pt x="979244" y="613357"/>
                      <a:pt x="979244" y="613357"/>
                      <a:pt x="359008" y="365090"/>
                    </a:cubicBezTo>
                    <a:cubicBezTo>
                      <a:pt x="356867" y="364377"/>
                      <a:pt x="355439" y="362950"/>
                      <a:pt x="353298" y="361523"/>
                    </a:cubicBezTo>
                    <a:cubicBezTo>
                      <a:pt x="353298" y="361523"/>
                      <a:pt x="353298" y="361523"/>
                      <a:pt x="387558" y="269493"/>
                    </a:cubicBezTo>
                    <a:close/>
                    <a:moveTo>
                      <a:pt x="164418" y="889"/>
                    </a:moveTo>
                    <a:cubicBezTo>
                      <a:pt x="164418" y="889"/>
                      <a:pt x="164418" y="889"/>
                      <a:pt x="403099" y="88757"/>
                    </a:cubicBezTo>
                    <a:cubicBezTo>
                      <a:pt x="410936" y="91614"/>
                      <a:pt x="415211" y="100901"/>
                      <a:pt x="412361" y="108759"/>
                    </a:cubicBezTo>
                    <a:cubicBezTo>
                      <a:pt x="412361" y="108759"/>
                      <a:pt x="412361" y="108759"/>
                      <a:pt x="326151" y="343789"/>
                    </a:cubicBezTo>
                    <a:cubicBezTo>
                      <a:pt x="326151" y="343789"/>
                      <a:pt x="326151" y="343789"/>
                      <a:pt x="269153" y="499522"/>
                    </a:cubicBezTo>
                    <a:cubicBezTo>
                      <a:pt x="266303" y="508095"/>
                      <a:pt x="257041" y="512381"/>
                      <a:pt x="249204" y="508809"/>
                    </a:cubicBezTo>
                    <a:cubicBezTo>
                      <a:pt x="249204" y="508809"/>
                      <a:pt x="249204" y="508809"/>
                      <a:pt x="10523" y="421656"/>
                    </a:cubicBezTo>
                    <a:cubicBezTo>
                      <a:pt x="1973" y="418084"/>
                      <a:pt x="-2302" y="409511"/>
                      <a:pt x="1261" y="400939"/>
                    </a:cubicBezTo>
                    <a:cubicBezTo>
                      <a:pt x="1261" y="400939"/>
                      <a:pt x="1261" y="400939"/>
                      <a:pt x="143757" y="10176"/>
                    </a:cubicBezTo>
                    <a:cubicBezTo>
                      <a:pt x="147319" y="2317"/>
                      <a:pt x="155869" y="-1969"/>
                      <a:pt x="164418" y="88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defTabSz="914411">
                  <a:defRPr/>
                </a:pPr>
                <a:endParaRPr lang="en-US">
                  <a:solidFill>
                    <a:prstClr val="black"/>
                  </a:solidFill>
                  <a:latin typeface="Arial"/>
                </a:endParaRPr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091054C-5CCF-29D5-550A-EAA95AD16568}"/>
              </a:ext>
            </a:extLst>
          </p:cNvPr>
          <p:cNvGrpSpPr>
            <a:grpSpLocks noChangeAspect="1"/>
          </p:cNvGrpSpPr>
          <p:nvPr/>
        </p:nvGrpSpPr>
        <p:grpSpPr>
          <a:xfrm>
            <a:off x="1961551" y="5321466"/>
            <a:ext cx="896094" cy="896922"/>
            <a:chOff x="5273799" y="2606040"/>
            <a:chExt cx="1644396" cy="1645920"/>
          </a:xfrm>
        </p:grpSpPr>
        <p:sp>
          <p:nvSpPr>
            <p:cNvPr id="23" name="AutoShape 8">
              <a:extLst>
                <a:ext uri="{FF2B5EF4-FFF2-40B4-BE49-F238E27FC236}">
                  <a16:creationId xmlns:a16="http://schemas.microsoft.com/office/drawing/2014/main" id="{7DA3E471-537D-0A61-6936-357FBBF4123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7194" tIns="33596" rIns="67194" bIns="33596" numCol="1" anchor="t" anchorCtr="0" compatLnSpc="1">
              <a:prstTxWarp prst="textNoShape">
                <a:avLst/>
              </a:prstTxWarp>
            </a:bodyPr>
            <a:lstStyle/>
            <a:p>
              <a:pPr defTabSz="914411">
                <a:defRPr/>
              </a:pPr>
              <a:endParaRPr lang="en-US" sz="2000" kern="0">
                <a:solidFill>
                  <a:prstClr val="black"/>
                </a:solidFill>
                <a:latin typeface="Arial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1992441-30A7-3B10-FFDD-BD5BA6E90177}"/>
                </a:ext>
              </a:extLst>
            </p:cNvPr>
            <p:cNvGrpSpPr/>
            <p:nvPr/>
          </p:nvGrpSpPr>
          <p:grpSpPr>
            <a:xfrm>
              <a:off x="5497065" y="2719578"/>
              <a:ext cx="1197864" cy="1361694"/>
              <a:chOff x="5497065" y="2719578"/>
              <a:chExt cx="1197864" cy="1361694"/>
            </a:xfrm>
          </p:grpSpPr>
          <p:sp>
            <p:nvSpPr>
              <p:cNvPr id="25" name="Freeform 10">
                <a:extLst>
                  <a:ext uri="{FF2B5EF4-FFF2-40B4-BE49-F238E27FC236}">
                    <a16:creationId xmlns:a16="http://schemas.microsoft.com/office/drawing/2014/main" id="{E3CA0C04-DD5A-9FF8-D1A9-C1AFA3C309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97065" y="3014091"/>
                <a:ext cx="1197864" cy="1067181"/>
              </a:xfrm>
              <a:custGeom>
                <a:avLst/>
                <a:gdLst>
                  <a:gd name="T0" fmla="*/ 1656 w 1678"/>
                  <a:gd name="T1" fmla="*/ 1332 h 1494"/>
                  <a:gd name="T2" fmla="*/ 1568 w 1678"/>
                  <a:gd name="T3" fmla="*/ 1332 h 1494"/>
                  <a:gd name="T4" fmla="*/ 1568 w 1678"/>
                  <a:gd name="T5" fmla="*/ 1288 h 1494"/>
                  <a:gd name="T6" fmla="*/ 1546 w 1678"/>
                  <a:gd name="T7" fmla="*/ 1266 h 1494"/>
                  <a:gd name="T8" fmla="*/ 132 w 1678"/>
                  <a:gd name="T9" fmla="*/ 1266 h 1494"/>
                  <a:gd name="T10" fmla="*/ 110 w 1678"/>
                  <a:gd name="T11" fmla="*/ 1288 h 1494"/>
                  <a:gd name="T12" fmla="*/ 110 w 1678"/>
                  <a:gd name="T13" fmla="*/ 1332 h 1494"/>
                  <a:gd name="T14" fmla="*/ 22 w 1678"/>
                  <a:gd name="T15" fmla="*/ 1332 h 1494"/>
                  <a:gd name="T16" fmla="*/ 0 w 1678"/>
                  <a:gd name="T17" fmla="*/ 1354 h 1494"/>
                  <a:gd name="T18" fmla="*/ 0 w 1678"/>
                  <a:gd name="T19" fmla="*/ 1472 h 1494"/>
                  <a:gd name="T20" fmla="*/ 22 w 1678"/>
                  <a:gd name="T21" fmla="*/ 1494 h 1494"/>
                  <a:gd name="T22" fmla="*/ 1656 w 1678"/>
                  <a:gd name="T23" fmla="*/ 1494 h 1494"/>
                  <a:gd name="T24" fmla="*/ 1678 w 1678"/>
                  <a:gd name="T25" fmla="*/ 1472 h 1494"/>
                  <a:gd name="T26" fmla="*/ 1678 w 1678"/>
                  <a:gd name="T27" fmla="*/ 1354 h 1494"/>
                  <a:gd name="T28" fmla="*/ 1656 w 1678"/>
                  <a:gd name="T29" fmla="*/ 1332 h 1494"/>
                  <a:gd name="T30" fmla="*/ 1645 w 1678"/>
                  <a:gd name="T31" fmla="*/ 375 h 1494"/>
                  <a:gd name="T32" fmla="*/ 1314 w 1678"/>
                  <a:gd name="T33" fmla="*/ 375 h 1494"/>
                  <a:gd name="T34" fmla="*/ 1147 w 1678"/>
                  <a:gd name="T35" fmla="*/ 109 h 1494"/>
                  <a:gd name="T36" fmla="*/ 839 w 1678"/>
                  <a:gd name="T37" fmla="*/ 0 h 1494"/>
                  <a:gd name="T38" fmla="*/ 532 w 1678"/>
                  <a:gd name="T39" fmla="*/ 108 h 1494"/>
                  <a:gd name="T40" fmla="*/ 364 w 1678"/>
                  <a:gd name="T41" fmla="*/ 375 h 1494"/>
                  <a:gd name="T42" fmla="*/ 33 w 1678"/>
                  <a:gd name="T43" fmla="*/ 375 h 1494"/>
                  <a:gd name="T44" fmla="*/ 11 w 1678"/>
                  <a:gd name="T45" fmla="*/ 397 h 1494"/>
                  <a:gd name="T46" fmla="*/ 11 w 1678"/>
                  <a:gd name="T47" fmla="*/ 528 h 1494"/>
                  <a:gd name="T48" fmla="*/ 33 w 1678"/>
                  <a:gd name="T49" fmla="*/ 550 h 1494"/>
                  <a:gd name="T50" fmla="*/ 1645 w 1678"/>
                  <a:gd name="T51" fmla="*/ 550 h 1494"/>
                  <a:gd name="T52" fmla="*/ 1667 w 1678"/>
                  <a:gd name="T53" fmla="*/ 528 h 1494"/>
                  <a:gd name="T54" fmla="*/ 1667 w 1678"/>
                  <a:gd name="T55" fmla="*/ 397 h 1494"/>
                  <a:gd name="T56" fmla="*/ 1645 w 1678"/>
                  <a:gd name="T57" fmla="*/ 375 h 1494"/>
                  <a:gd name="T58" fmla="*/ 839 w 1678"/>
                  <a:gd name="T59" fmla="*/ 44 h 1494"/>
                  <a:gd name="T60" fmla="*/ 1269 w 1678"/>
                  <a:gd name="T61" fmla="*/ 375 h 1494"/>
                  <a:gd name="T62" fmla="*/ 409 w 1678"/>
                  <a:gd name="T63" fmla="*/ 375 h 1494"/>
                  <a:gd name="T64" fmla="*/ 839 w 1678"/>
                  <a:gd name="T65" fmla="*/ 44 h 1494"/>
                  <a:gd name="T66" fmla="*/ 1623 w 1678"/>
                  <a:gd name="T67" fmla="*/ 506 h 1494"/>
                  <a:gd name="T68" fmla="*/ 55 w 1678"/>
                  <a:gd name="T69" fmla="*/ 506 h 1494"/>
                  <a:gd name="T70" fmla="*/ 55 w 1678"/>
                  <a:gd name="T71" fmla="*/ 419 h 1494"/>
                  <a:gd name="T72" fmla="*/ 1623 w 1678"/>
                  <a:gd name="T73" fmla="*/ 419 h 1494"/>
                  <a:gd name="T74" fmla="*/ 1623 w 1678"/>
                  <a:gd name="T75" fmla="*/ 506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8" h="1494">
                    <a:moveTo>
                      <a:pt x="1656" y="1332"/>
                    </a:moveTo>
                    <a:cubicBezTo>
                      <a:pt x="1568" y="1332"/>
                      <a:pt x="1568" y="1332"/>
                      <a:pt x="1568" y="1332"/>
                    </a:cubicBezTo>
                    <a:cubicBezTo>
                      <a:pt x="1568" y="1288"/>
                      <a:pt x="1568" y="1288"/>
                      <a:pt x="1568" y="1288"/>
                    </a:cubicBezTo>
                    <a:cubicBezTo>
                      <a:pt x="1568" y="1276"/>
                      <a:pt x="1558" y="1266"/>
                      <a:pt x="1546" y="1266"/>
                    </a:cubicBezTo>
                    <a:cubicBezTo>
                      <a:pt x="132" y="1266"/>
                      <a:pt x="132" y="1266"/>
                      <a:pt x="132" y="1266"/>
                    </a:cubicBezTo>
                    <a:cubicBezTo>
                      <a:pt x="120" y="1266"/>
                      <a:pt x="110" y="1276"/>
                      <a:pt x="110" y="1288"/>
                    </a:cubicBezTo>
                    <a:cubicBezTo>
                      <a:pt x="110" y="1332"/>
                      <a:pt x="110" y="1332"/>
                      <a:pt x="110" y="1332"/>
                    </a:cubicBezTo>
                    <a:cubicBezTo>
                      <a:pt x="22" y="1332"/>
                      <a:pt x="22" y="1332"/>
                      <a:pt x="22" y="1332"/>
                    </a:cubicBezTo>
                    <a:cubicBezTo>
                      <a:pt x="10" y="1332"/>
                      <a:pt x="0" y="1342"/>
                      <a:pt x="0" y="1354"/>
                    </a:cubicBezTo>
                    <a:cubicBezTo>
                      <a:pt x="0" y="1472"/>
                      <a:pt x="0" y="1472"/>
                      <a:pt x="0" y="1472"/>
                    </a:cubicBezTo>
                    <a:cubicBezTo>
                      <a:pt x="0" y="1484"/>
                      <a:pt x="10" y="1494"/>
                      <a:pt x="22" y="1494"/>
                    </a:cubicBezTo>
                    <a:cubicBezTo>
                      <a:pt x="1656" y="1494"/>
                      <a:pt x="1656" y="1494"/>
                      <a:pt x="1656" y="1494"/>
                    </a:cubicBezTo>
                    <a:cubicBezTo>
                      <a:pt x="1668" y="1494"/>
                      <a:pt x="1678" y="1484"/>
                      <a:pt x="1678" y="1472"/>
                    </a:cubicBezTo>
                    <a:cubicBezTo>
                      <a:pt x="1678" y="1354"/>
                      <a:pt x="1678" y="1354"/>
                      <a:pt x="1678" y="1354"/>
                    </a:cubicBezTo>
                    <a:cubicBezTo>
                      <a:pt x="1678" y="1342"/>
                      <a:pt x="1668" y="1332"/>
                      <a:pt x="1656" y="1332"/>
                    </a:cubicBezTo>
                    <a:close/>
                    <a:moveTo>
                      <a:pt x="1645" y="375"/>
                    </a:moveTo>
                    <a:cubicBezTo>
                      <a:pt x="1314" y="375"/>
                      <a:pt x="1314" y="375"/>
                      <a:pt x="1314" y="375"/>
                    </a:cubicBezTo>
                    <a:cubicBezTo>
                      <a:pt x="1289" y="271"/>
                      <a:pt x="1230" y="177"/>
                      <a:pt x="1147" y="109"/>
                    </a:cubicBezTo>
                    <a:cubicBezTo>
                      <a:pt x="1060" y="38"/>
                      <a:pt x="951" y="0"/>
                      <a:pt x="839" y="0"/>
                    </a:cubicBezTo>
                    <a:cubicBezTo>
                      <a:pt x="728" y="0"/>
                      <a:pt x="619" y="38"/>
                      <a:pt x="532" y="108"/>
                    </a:cubicBezTo>
                    <a:cubicBezTo>
                      <a:pt x="448" y="176"/>
                      <a:pt x="389" y="271"/>
                      <a:pt x="364" y="375"/>
                    </a:cubicBezTo>
                    <a:cubicBezTo>
                      <a:pt x="33" y="375"/>
                      <a:pt x="33" y="375"/>
                      <a:pt x="33" y="375"/>
                    </a:cubicBezTo>
                    <a:cubicBezTo>
                      <a:pt x="21" y="375"/>
                      <a:pt x="11" y="385"/>
                      <a:pt x="11" y="397"/>
                    </a:cubicBezTo>
                    <a:cubicBezTo>
                      <a:pt x="11" y="528"/>
                      <a:pt x="11" y="528"/>
                      <a:pt x="11" y="528"/>
                    </a:cubicBezTo>
                    <a:cubicBezTo>
                      <a:pt x="11" y="540"/>
                      <a:pt x="21" y="550"/>
                      <a:pt x="33" y="550"/>
                    </a:cubicBezTo>
                    <a:cubicBezTo>
                      <a:pt x="1645" y="550"/>
                      <a:pt x="1645" y="550"/>
                      <a:pt x="1645" y="550"/>
                    </a:cubicBezTo>
                    <a:cubicBezTo>
                      <a:pt x="1657" y="550"/>
                      <a:pt x="1667" y="540"/>
                      <a:pt x="1667" y="528"/>
                    </a:cubicBezTo>
                    <a:cubicBezTo>
                      <a:pt x="1667" y="397"/>
                      <a:pt x="1667" y="397"/>
                      <a:pt x="1667" y="397"/>
                    </a:cubicBezTo>
                    <a:cubicBezTo>
                      <a:pt x="1667" y="385"/>
                      <a:pt x="1657" y="375"/>
                      <a:pt x="1645" y="375"/>
                    </a:cubicBezTo>
                    <a:close/>
                    <a:moveTo>
                      <a:pt x="839" y="44"/>
                    </a:moveTo>
                    <a:cubicBezTo>
                      <a:pt x="1040" y="44"/>
                      <a:pt x="1218" y="182"/>
                      <a:pt x="1269" y="375"/>
                    </a:cubicBezTo>
                    <a:cubicBezTo>
                      <a:pt x="409" y="375"/>
                      <a:pt x="409" y="375"/>
                      <a:pt x="409" y="375"/>
                    </a:cubicBezTo>
                    <a:cubicBezTo>
                      <a:pt x="460" y="179"/>
                      <a:pt x="635" y="44"/>
                      <a:pt x="839" y="44"/>
                    </a:cubicBezTo>
                    <a:close/>
                    <a:moveTo>
                      <a:pt x="1623" y="506"/>
                    </a:moveTo>
                    <a:cubicBezTo>
                      <a:pt x="55" y="506"/>
                      <a:pt x="55" y="506"/>
                      <a:pt x="55" y="506"/>
                    </a:cubicBezTo>
                    <a:cubicBezTo>
                      <a:pt x="55" y="419"/>
                      <a:pt x="55" y="419"/>
                      <a:pt x="55" y="419"/>
                    </a:cubicBezTo>
                    <a:cubicBezTo>
                      <a:pt x="1623" y="419"/>
                      <a:pt x="1623" y="419"/>
                      <a:pt x="1623" y="419"/>
                    </a:cubicBezTo>
                    <a:lnTo>
                      <a:pt x="1623" y="50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7194" tIns="33596" rIns="67194" bIns="33596" numCol="1" anchor="t" anchorCtr="0" compatLnSpc="1">
                <a:prstTxWarp prst="textNoShape">
                  <a:avLst/>
                </a:prstTxWarp>
              </a:bodyPr>
              <a:lstStyle/>
              <a:p>
                <a:pPr defTabSz="914411">
                  <a:defRPr/>
                </a:pPr>
                <a:endParaRPr lang="en-US" sz="2000" kern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6" name="Freeform 11">
                <a:extLst>
                  <a:ext uri="{FF2B5EF4-FFF2-40B4-BE49-F238E27FC236}">
                    <a16:creationId xmlns:a16="http://schemas.microsoft.com/office/drawing/2014/main" id="{1F15DF08-7D55-B261-5D83-5A5D40558C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4982" y="2719578"/>
                <a:ext cx="1002030" cy="1155954"/>
              </a:xfrm>
              <a:custGeom>
                <a:avLst/>
                <a:gdLst>
                  <a:gd name="T0" fmla="*/ 12 w 1404"/>
                  <a:gd name="T1" fmla="*/ 1032 h 1618"/>
                  <a:gd name="T2" fmla="*/ 105 w 1404"/>
                  <a:gd name="T3" fmla="*/ 1022 h 1618"/>
                  <a:gd name="T4" fmla="*/ 127 w 1404"/>
                  <a:gd name="T5" fmla="*/ 1608 h 1618"/>
                  <a:gd name="T6" fmla="*/ 10 w 1404"/>
                  <a:gd name="T7" fmla="*/ 1618 h 1618"/>
                  <a:gd name="T8" fmla="*/ 1031 w 1404"/>
                  <a:gd name="T9" fmla="*/ 1618 h 1618"/>
                  <a:gd name="T10" fmla="*/ 1149 w 1404"/>
                  <a:gd name="T11" fmla="*/ 1608 h 1618"/>
                  <a:gd name="T12" fmla="*/ 1127 w 1404"/>
                  <a:gd name="T13" fmla="*/ 1022 h 1618"/>
                  <a:gd name="T14" fmla="*/ 1033 w 1404"/>
                  <a:gd name="T15" fmla="*/ 1032 h 1618"/>
                  <a:gd name="T16" fmla="*/ 1031 w 1404"/>
                  <a:gd name="T17" fmla="*/ 1618 h 1618"/>
                  <a:gd name="T18" fmla="*/ 1394 w 1404"/>
                  <a:gd name="T19" fmla="*/ 1618 h 1618"/>
                  <a:gd name="T20" fmla="*/ 1392 w 1404"/>
                  <a:gd name="T21" fmla="*/ 1032 h 1618"/>
                  <a:gd name="T22" fmla="*/ 1299 w 1404"/>
                  <a:gd name="T23" fmla="*/ 1022 h 1618"/>
                  <a:gd name="T24" fmla="*/ 1277 w 1404"/>
                  <a:gd name="T25" fmla="*/ 1608 h 1618"/>
                  <a:gd name="T26" fmla="*/ 776 w 1404"/>
                  <a:gd name="T27" fmla="*/ 1618 h 1618"/>
                  <a:gd name="T28" fmla="*/ 894 w 1404"/>
                  <a:gd name="T29" fmla="*/ 1608 h 1618"/>
                  <a:gd name="T30" fmla="*/ 871 w 1404"/>
                  <a:gd name="T31" fmla="*/ 1022 h 1618"/>
                  <a:gd name="T32" fmla="*/ 778 w 1404"/>
                  <a:gd name="T33" fmla="*/ 1032 h 1618"/>
                  <a:gd name="T34" fmla="*/ 776 w 1404"/>
                  <a:gd name="T35" fmla="*/ 1618 h 1618"/>
                  <a:gd name="T36" fmla="*/ 628 w 1404"/>
                  <a:gd name="T37" fmla="*/ 1618 h 1618"/>
                  <a:gd name="T38" fmla="*/ 626 w 1404"/>
                  <a:gd name="T39" fmla="*/ 1032 h 1618"/>
                  <a:gd name="T40" fmla="*/ 533 w 1404"/>
                  <a:gd name="T41" fmla="*/ 1022 h 1618"/>
                  <a:gd name="T42" fmla="*/ 510 w 1404"/>
                  <a:gd name="T43" fmla="*/ 1608 h 1618"/>
                  <a:gd name="T44" fmla="*/ 265 w 1404"/>
                  <a:gd name="T45" fmla="*/ 1618 h 1618"/>
                  <a:gd name="T46" fmla="*/ 383 w 1404"/>
                  <a:gd name="T47" fmla="*/ 1608 h 1618"/>
                  <a:gd name="T48" fmla="*/ 361 w 1404"/>
                  <a:gd name="T49" fmla="*/ 1022 h 1618"/>
                  <a:gd name="T50" fmla="*/ 267 w 1404"/>
                  <a:gd name="T51" fmla="*/ 1032 h 1618"/>
                  <a:gd name="T52" fmla="*/ 265 w 1404"/>
                  <a:gd name="T53" fmla="*/ 1618 h 1618"/>
                  <a:gd name="T54" fmla="*/ 702 w 1404"/>
                  <a:gd name="T55" fmla="*/ 368 h 1618"/>
                  <a:gd name="T56" fmla="*/ 727 w 1404"/>
                  <a:gd name="T57" fmla="*/ 200 h 1618"/>
                  <a:gd name="T58" fmla="*/ 1036 w 1404"/>
                  <a:gd name="T59" fmla="*/ 193 h 1618"/>
                  <a:gd name="T60" fmla="*/ 959 w 1404"/>
                  <a:gd name="T61" fmla="*/ 101 h 1618"/>
                  <a:gd name="T62" fmla="*/ 1040 w 1404"/>
                  <a:gd name="T63" fmla="*/ 11 h 1618"/>
                  <a:gd name="T64" fmla="*/ 720 w 1404"/>
                  <a:gd name="T65" fmla="*/ 0 h 1618"/>
                  <a:gd name="T66" fmla="*/ 681 w 1404"/>
                  <a:gd name="T67" fmla="*/ 0 h 1618"/>
                  <a:gd name="T68" fmla="*/ 675 w 1404"/>
                  <a:gd name="T69" fmla="*/ 193 h 1618"/>
                  <a:gd name="T70" fmla="*/ 675 w 1404"/>
                  <a:gd name="T71" fmla="*/ 368 h 1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04" h="1618">
                    <a:moveTo>
                      <a:pt x="0" y="1608"/>
                    </a:moveTo>
                    <a:cubicBezTo>
                      <a:pt x="12" y="1032"/>
                      <a:pt x="12" y="1032"/>
                      <a:pt x="12" y="1032"/>
                    </a:cubicBezTo>
                    <a:cubicBezTo>
                      <a:pt x="12" y="1027"/>
                      <a:pt x="16" y="1022"/>
                      <a:pt x="22" y="1022"/>
                    </a:cubicBezTo>
                    <a:cubicBezTo>
                      <a:pt x="105" y="1022"/>
                      <a:pt x="105" y="1022"/>
                      <a:pt x="105" y="1022"/>
                    </a:cubicBezTo>
                    <a:cubicBezTo>
                      <a:pt x="111" y="1022"/>
                      <a:pt x="115" y="1027"/>
                      <a:pt x="115" y="1032"/>
                    </a:cubicBezTo>
                    <a:cubicBezTo>
                      <a:pt x="127" y="1608"/>
                      <a:pt x="127" y="1608"/>
                      <a:pt x="127" y="1608"/>
                    </a:cubicBezTo>
                    <a:cubicBezTo>
                      <a:pt x="127" y="1613"/>
                      <a:pt x="123" y="1618"/>
                      <a:pt x="117" y="1618"/>
                    </a:cubicBezTo>
                    <a:cubicBezTo>
                      <a:pt x="10" y="1618"/>
                      <a:pt x="10" y="1618"/>
                      <a:pt x="10" y="1618"/>
                    </a:cubicBezTo>
                    <a:cubicBezTo>
                      <a:pt x="4" y="1618"/>
                      <a:pt x="0" y="1613"/>
                      <a:pt x="0" y="1608"/>
                    </a:cubicBezTo>
                    <a:close/>
                    <a:moveTo>
                      <a:pt x="1031" y="1618"/>
                    </a:moveTo>
                    <a:cubicBezTo>
                      <a:pt x="1139" y="1618"/>
                      <a:pt x="1139" y="1618"/>
                      <a:pt x="1139" y="1618"/>
                    </a:cubicBezTo>
                    <a:cubicBezTo>
                      <a:pt x="1144" y="1618"/>
                      <a:pt x="1149" y="1613"/>
                      <a:pt x="1149" y="1608"/>
                    </a:cubicBezTo>
                    <a:cubicBezTo>
                      <a:pt x="1137" y="1032"/>
                      <a:pt x="1137" y="1032"/>
                      <a:pt x="1137" y="1032"/>
                    </a:cubicBezTo>
                    <a:cubicBezTo>
                      <a:pt x="1137" y="1027"/>
                      <a:pt x="1132" y="1022"/>
                      <a:pt x="1127" y="1022"/>
                    </a:cubicBezTo>
                    <a:cubicBezTo>
                      <a:pt x="1043" y="1022"/>
                      <a:pt x="1043" y="1022"/>
                      <a:pt x="1043" y="1022"/>
                    </a:cubicBezTo>
                    <a:cubicBezTo>
                      <a:pt x="1038" y="1022"/>
                      <a:pt x="1033" y="1027"/>
                      <a:pt x="1033" y="1032"/>
                    </a:cubicBezTo>
                    <a:cubicBezTo>
                      <a:pt x="1021" y="1608"/>
                      <a:pt x="1021" y="1608"/>
                      <a:pt x="1021" y="1608"/>
                    </a:cubicBezTo>
                    <a:cubicBezTo>
                      <a:pt x="1021" y="1613"/>
                      <a:pt x="1026" y="1618"/>
                      <a:pt x="1031" y="1618"/>
                    </a:cubicBezTo>
                    <a:close/>
                    <a:moveTo>
                      <a:pt x="1287" y="1618"/>
                    </a:moveTo>
                    <a:cubicBezTo>
                      <a:pt x="1394" y="1618"/>
                      <a:pt x="1394" y="1618"/>
                      <a:pt x="1394" y="1618"/>
                    </a:cubicBezTo>
                    <a:cubicBezTo>
                      <a:pt x="1400" y="1618"/>
                      <a:pt x="1404" y="1613"/>
                      <a:pt x="1404" y="1608"/>
                    </a:cubicBezTo>
                    <a:cubicBezTo>
                      <a:pt x="1392" y="1032"/>
                      <a:pt x="1392" y="1032"/>
                      <a:pt x="1392" y="1032"/>
                    </a:cubicBezTo>
                    <a:cubicBezTo>
                      <a:pt x="1392" y="1027"/>
                      <a:pt x="1388" y="1022"/>
                      <a:pt x="1382" y="1022"/>
                    </a:cubicBezTo>
                    <a:cubicBezTo>
                      <a:pt x="1299" y="1022"/>
                      <a:pt x="1299" y="1022"/>
                      <a:pt x="1299" y="1022"/>
                    </a:cubicBezTo>
                    <a:cubicBezTo>
                      <a:pt x="1293" y="1022"/>
                      <a:pt x="1289" y="1027"/>
                      <a:pt x="1289" y="1032"/>
                    </a:cubicBezTo>
                    <a:cubicBezTo>
                      <a:pt x="1277" y="1608"/>
                      <a:pt x="1277" y="1608"/>
                      <a:pt x="1277" y="1608"/>
                    </a:cubicBezTo>
                    <a:cubicBezTo>
                      <a:pt x="1277" y="1613"/>
                      <a:pt x="1281" y="1618"/>
                      <a:pt x="1287" y="1618"/>
                    </a:cubicBezTo>
                    <a:close/>
                    <a:moveTo>
                      <a:pt x="776" y="1618"/>
                    </a:moveTo>
                    <a:cubicBezTo>
                      <a:pt x="883" y="1618"/>
                      <a:pt x="883" y="1618"/>
                      <a:pt x="883" y="1618"/>
                    </a:cubicBezTo>
                    <a:cubicBezTo>
                      <a:pt x="889" y="1618"/>
                      <a:pt x="894" y="1613"/>
                      <a:pt x="894" y="1608"/>
                    </a:cubicBezTo>
                    <a:cubicBezTo>
                      <a:pt x="881" y="1032"/>
                      <a:pt x="881" y="1032"/>
                      <a:pt x="881" y="1032"/>
                    </a:cubicBezTo>
                    <a:cubicBezTo>
                      <a:pt x="881" y="1027"/>
                      <a:pt x="877" y="1022"/>
                      <a:pt x="871" y="1022"/>
                    </a:cubicBezTo>
                    <a:cubicBezTo>
                      <a:pt x="788" y="1022"/>
                      <a:pt x="788" y="1022"/>
                      <a:pt x="788" y="1022"/>
                    </a:cubicBezTo>
                    <a:cubicBezTo>
                      <a:pt x="782" y="1022"/>
                      <a:pt x="778" y="1027"/>
                      <a:pt x="778" y="1032"/>
                    </a:cubicBezTo>
                    <a:cubicBezTo>
                      <a:pt x="766" y="1608"/>
                      <a:pt x="766" y="1608"/>
                      <a:pt x="766" y="1608"/>
                    </a:cubicBezTo>
                    <a:cubicBezTo>
                      <a:pt x="766" y="1613"/>
                      <a:pt x="770" y="1618"/>
                      <a:pt x="776" y="1618"/>
                    </a:cubicBezTo>
                    <a:close/>
                    <a:moveTo>
                      <a:pt x="521" y="1618"/>
                    </a:moveTo>
                    <a:cubicBezTo>
                      <a:pt x="628" y="1618"/>
                      <a:pt x="628" y="1618"/>
                      <a:pt x="628" y="1618"/>
                    </a:cubicBezTo>
                    <a:cubicBezTo>
                      <a:pt x="634" y="1618"/>
                      <a:pt x="638" y="1613"/>
                      <a:pt x="638" y="1608"/>
                    </a:cubicBezTo>
                    <a:cubicBezTo>
                      <a:pt x="626" y="1032"/>
                      <a:pt x="626" y="1032"/>
                      <a:pt x="626" y="1032"/>
                    </a:cubicBezTo>
                    <a:cubicBezTo>
                      <a:pt x="626" y="1027"/>
                      <a:pt x="622" y="1022"/>
                      <a:pt x="616" y="1022"/>
                    </a:cubicBezTo>
                    <a:cubicBezTo>
                      <a:pt x="533" y="1022"/>
                      <a:pt x="533" y="1022"/>
                      <a:pt x="533" y="1022"/>
                    </a:cubicBezTo>
                    <a:cubicBezTo>
                      <a:pt x="527" y="1022"/>
                      <a:pt x="523" y="1027"/>
                      <a:pt x="523" y="1032"/>
                    </a:cubicBezTo>
                    <a:cubicBezTo>
                      <a:pt x="510" y="1608"/>
                      <a:pt x="510" y="1608"/>
                      <a:pt x="510" y="1608"/>
                    </a:cubicBezTo>
                    <a:cubicBezTo>
                      <a:pt x="510" y="1613"/>
                      <a:pt x="515" y="1618"/>
                      <a:pt x="521" y="1618"/>
                    </a:cubicBezTo>
                    <a:close/>
                    <a:moveTo>
                      <a:pt x="265" y="1618"/>
                    </a:moveTo>
                    <a:cubicBezTo>
                      <a:pt x="373" y="1618"/>
                      <a:pt x="373" y="1618"/>
                      <a:pt x="373" y="1618"/>
                    </a:cubicBezTo>
                    <a:cubicBezTo>
                      <a:pt x="378" y="1618"/>
                      <a:pt x="383" y="1613"/>
                      <a:pt x="383" y="1608"/>
                    </a:cubicBezTo>
                    <a:cubicBezTo>
                      <a:pt x="371" y="1032"/>
                      <a:pt x="371" y="1032"/>
                      <a:pt x="371" y="1032"/>
                    </a:cubicBezTo>
                    <a:cubicBezTo>
                      <a:pt x="371" y="1027"/>
                      <a:pt x="366" y="1022"/>
                      <a:pt x="361" y="1022"/>
                    </a:cubicBezTo>
                    <a:cubicBezTo>
                      <a:pt x="277" y="1022"/>
                      <a:pt x="277" y="1022"/>
                      <a:pt x="277" y="1022"/>
                    </a:cubicBezTo>
                    <a:cubicBezTo>
                      <a:pt x="272" y="1022"/>
                      <a:pt x="267" y="1027"/>
                      <a:pt x="267" y="1032"/>
                    </a:cubicBezTo>
                    <a:cubicBezTo>
                      <a:pt x="255" y="1608"/>
                      <a:pt x="255" y="1608"/>
                      <a:pt x="255" y="1608"/>
                    </a:cubicBezTo>
                    <a:cubicBezTo>
                      <a:pt x="255" y="1613"/>
                      <a:pt x="260" y="1618"/>
                      <a:pt x="265" y="1618"/>
                    </a:cubicBezTo>
                    <a:close/>
                    <a:moveTo>
                      <a:pt x="675" y="368"/>
                    </a:moveTo>
                    <a:cubicBezTo>
                      <a:pt x="684" y="368"/>
                      <a:pt x="693" y="368"/>
                      <a:pt x="702" y="368"/>
                    </a:cubicBezTo>
                    <a:cubicBezTo>
                      <a:pt x="710" y="368"/>
                      <a:pt x="718" y="368"/>
                      <a:pt x="727" y="368"/>
                    </a:cubicBezTo>
                    <a:cubicBezTo>
                      <a:pt x="727" y="200"/>
                      <a:pt x="727" y="200"/>
                      <a:pt x="727" y="200"/>
                    </a:cubicBezTo>
                    <a:cubicBezTo>
                      <a:pt x="727" y="196"/>
                      <a:pt x="730" y="193"/>
                      <a:pt x="733" y="193"/>
                    </a:cubicBezTo>
                    <a:cubicBezTo>
                      <a:pt x="1036" y="193"/>
                      <a:pt x="1036" y="193"/>
                      <a:pt x="1036" y="193"/>
                    </a:cubicBezTo>
                    <a:cubicBezTo>
                      <a:pt x="1042" y="193"/>
                      <a:pt x="1044" y="186"/>
                      <a:pt x="1040" y="182"/>
                    </a:cubicBezTo>
                    <a:cubicBezTo>
                      <a:pt x="959" y="101"/>
                      <a:pt x="959" y="101"/>
                      <a:pt x="959" y="101"/>
                    </a:cubicBezTo>
                    <a:cubicBezTo>
                      <a:pt x="957" y="99"/>
                      <a:pt x="957" y="95"/>
                      <a:pt x="959" y="92"/>
                    </a:cubicBezTo>
                    <a:cubicBezTo>
                      <a:pt x="1040" y="11"/>
                      <a:pt x="1040" y="11"/>
                      <a:pt x="1040" y="11"/>
                    </a:cubicBezTo>
                    <a:cubicBezTo>
                      <a:pt x="1044" y="7"/>
                      <a:pt x="1042" y="0"/>
                      <a:pt x="1036" y="0"/>
                    </a:cubicBezTo>
                    <a:cubicBezTo>
                      <a:pt x="720" y="0"/>
                      <a:pt x="720" y="0"/>
                      <a:pt x="720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78" y="0"/>
                      <a:pt x="675" y="3"/>
                      <a:pt x="675" y="7"/>
                    </a:cubicBezTo>
                    <a:cubicBezTo>
                      <a:pt x="675" y="193"/>
                      <a:pt x="675" y="193"/>
                      <a:pt x="675" y="193"/>
                    </a:cubicBezTo>
                    <a:cubicBezTo>
                      <a:pt x="675" y="193"/>
                      <a:pt x="675" y="193"/>
                      <a:pt x="675" y="193"/>
                    </a:cubicBezTo>
                    <a:lnTo>
                      <a:pt x="675" y="36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7194" tIns="33596" rIns="67194" bIns="33596" numCol="1" anchor="t" anchorCtr="0" compatLnSpc="1">
                <a:prstTxWarp prst="textNoShape">
                  <a:avLst/>
                </a:prstTxWarp>
              </a:bodyPr>
              <a:lstStyle/>
              <a:p>
                <a:pPr defTabSz="914411">
                  <a:defRPr/>
                </a:pPr>
                <a:endParaRPr lang="en-US" sz="2000" kern="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6992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0D7592-5369-7FF7-172B-A17344A0C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liance Time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435600-AF90-E346-FCE2-FD951C51F3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0948" y="3397974"/>
            <a:ext cx="15642469" cy="4351338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C2C9B6-F287-CEDB-44F6-88236EE163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13</a:t>
            </a:fld>
            <a:endParaRPr lang="da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1BEB45D-DEBA-6B7F-C2EC-96A17069BE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A2FF5E1-7DC3-7C7F-DF92-030E0D0CA1E5}"/>
              </a:ext>
            </a:extLst>
          </p:cNvPr>
          <p:cNvPicPr>
            <a:picLocks noChangeAspect="1" noChangeArrowheads="1"/>
          </p:cNvPicPr>
          <p:nvPr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4329" y="1419133"/>
            <a:ext cx="8686799" cy="5327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141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89AE74-E1FB-4768-3D5F-6A4A93E9964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0301A9-4CE3-C3CF-9E88-84DF34C4C8E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203D137-3EF9-E448-1A59-79267E0998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8400" y="665631"/>
            <a:ext cx="10045701" cy="5633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1807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54FD04-ACAB-866B-BA9C-DFB6AC7660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854FD04-ACAB-866B-BA9C-DFB6AC7660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0BD0F6-38C9-5DB5-C043-7634519CEC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GB" dirty="0"/>
              <a:t>revised Imo ghg strateg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F6A7C9-BA8C-FFEA-840D-AF0C77A06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BC3415-6A21-2E49-A058-D443F991EEAB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1E3B">
                    <a:tint val="75000"/>
                  </a:srgbClr>
                </a:solidFill>
                <a:effectLst/>
                <a:uLnTx/>
                <a:uFillTx/>
                <a:latin typeface="GT Walsheim Pro" panose="00000500000000000000" pitchFamily="50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srgbClr val="001E3B">
                  <a:tint val="75000"/>
                </a:srgbClr>
              </a:solidFill>
              <a:effectLst/>
              <a:uLnTx/>
              <a:uFillTx/>
              <a:latin typeface="GT Walsheim Pro" panose="00000500000000000000" pitchFamily="50" charset="0"/>
              <a:ea typeface="+mn-ea"/>
              <a:cs typeface="+mn-cs"/>
            </a:endParaRPr>
          </a:p>
        </p:txBody>
      </p:sp>
      <p:pic>
        <p:nvPicPr>
          <p:cNvPr id="24" name="Picture 2" descr="Logo">
            <a:extLst>
              <a:ext uri="{FF2B5EF4-FFF2-40B4-BE49-F238E27FC236}">
                <a16:creationId xmlns:a16="http://schemas.microsoft.com/office/drawing/2014/main" id="{1DC81351-01B7-7116-8F78-E9B2B715DB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576" y="114440"/>
            <a:ext cx="1831549" cy="541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BA30F0D-062D-B5F4-ABCE-CDE4333C0B03}"/>
              </a:ext>
            </a:extLst>
          </p:cNvPr>
          <p:cNvGrpSpPr/>
          <p:nvPr/>
        </p:nvGrpSpPr>
        <p:grpSpPr>
          <a:xfrm>
            <a:off x="977049" y="1770129"/>
            <a:ext cx="8637061" cy="4119801"/>
            <a:chOff x="2026293" y="1776916"/>
            <a:chExt cx="7642357" cy="3722211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D320BB2-5EB5-CCE1-3586-FBE098217275}"/>
                </a:ext>
              </a:extLst>
            </p:cNvPr>
            <p:cNvSpPr/>
            <p:nvPr/>
          </p:nvSpPr>
          <p:spPr>
            <a:xfrm>
              <a:off x="2483708" y="2744055"/>
              <a:ext cx="6523516" cy="2506180"/>
            </a:xfrm>
            <a:custGeom>
              <a:avLst/>
              <a:gdLst>
                <a:gd name="connsiteX0" fmla="*/ 0 w 7667537"/>
                <a:gd name="connsiteY0" fmla="*/ 1417740 h 2323751"/>
                <a:gd name="connsiteX1" fmla="*/ 1812022 w 7667537"/>
                <a:gd name="connsiteY1" fmla="*/ 1635854 h 2323751"/>
                <a:gd name="connsiteX2" fmla="*/ 3816991 w 7667537"/>
                <a:gd name="connsiteY2" fmla="*/ 1619076 h 2323751"/>
                <a:gd name="connsiteX3" fmla="*/ 7667537 w 7667537"/>
                <a:gd name="connsiteY3" fmla="*/ 2323751 h 2323751"/>
                <a:gd name="connsiteX4" fmla="*/ 7650759 w 7667537"/>
                <a:gd name="connsiteY4" fmla="*/ 0 h 2323751"/>
                <a:gd name="connsiteX5" fmla="*/ 3816991 w 7667537"/>
                <a:gd name="connsiteY5" fmla="*/ 1023457 h 2323751"/>
                <a:gd name="connsiteX6" fmla="*/ 1837189 w 7667537"/>
                <a:gd name="connsiteY6" fmla="*/ 1417740 h 2323751"/>
                <a:gd name="connsiteX7" fmla="*/ 0 w 7667537"/>
                <a:gd name="connsiteY7" fmla="*/ 1417740 h 2323751"/>
                <a:gd name="connsiteX0" fmla="*/ 0 w 7667537"/>
                <a:gd name="connsiteY0" fmla="*/ 1417740 h 2323751"/>
                <a:gd name="connsiteX1" fmla="*/ 1812022 w 7667537"/>
                <a:gd name="connsiteY1" fmla="*/ 1635854 h 2323751"/>
                <a:gd name="connsiteX2" fmla="*/ 3869534 w 7667537"/>
                <a:gd name="connsiteY2" fmla="*/ 1921907 h 2323751"/>
                <a:gd name="connsiteX3" fmla="*/ 7667537 w 7667537"/>
                <a:gd name="connsiteY3" fmla="*/ 2323751 h 2323751"/>
                <a:gd name="connsiteX4" fmla="*/ 7650759 w 7667537"/>
                <a:gd name="connsiteY4" fmla="*/ 0 h 2323751"/>
                <a:gd name="connsiteX5" fmla="*/ 3816991 w 7667537"/>
                <a:gd name="connsiteY5" fmla="*/ 1023457 h 2323751"/>
                <a:gd name="connsiteX6" fmla="*/ 1837189 w 7667537"/>
                <a:gd name="connsiteY6" fmla="*/ 1417740 h 2323751"/>
                <a:gd name="connsiteX7" fmla="*/ 0 w 7667537"/>
                <a:gd name="connsiteY7" fmla="*/ 1417740 h 2323751"/>
                <a:gd name="connsiteX0" fmla="*/ 0 w 7667537"/>
                <a:gd name="connsiteY0" fmla="*/ 1417740 h 2323751"/>
                <a:gd name="connsiteX1" fmla="*/ 1812022 w 7667537"/>
                <a:gd name="connsiteY1" fmla="*/ 1635854 h 2323751"/>
                <a:gd name="connsiteX2" fmla="*/ 3869534 w 7667537"/>
                <a:gd name="connsiteY2" fmla="*/ 1921907 h 2323751"/>
                <a:gd name="connsiteX3" fmla="*/ 7667537 w 7667537"/>
                <a:gd name="connsiteY3" fmla="*/ 2323751 h 2323751"/>
                <a:gd name="connsiteX4" fmla="*/ 7650759 w 7667537"/>
                <a:gd name="connsiteY4" fmla="*/ 0 h 2323751"/>
                <a:gd name="connsiteX5" fmla="*/ 3816991 w 7667537"/>
                <a:gd name="connsiteY5" fmla="*/ 1023457 h 2323751"/>
                <a:gd name="connsiteX6" fmla="*/ 1837189 w 7667537"/>
                <a:gd name="connsiteY6" fmla="*/ 1417740 h 2323751"/>
                <a:gd name="connsiteX7" fmla="*/ 0 w 7667537"/>
                <a:gd name="connsiteY7" fmla="*/ 1417740 h 2323751"/>
                <a:gd name="connsiteX0" fmla="*/ 0 w 7720078"/>
                <a:gd name="connsiteY0" fmla="*/ 1417740 h 2907779"/>
                <a:gd name="connsiteX1" fmla="*/ 1812022 w 7720078"/>
                <a:gd name="connsiteY1" fmla="*/ 1635854 h 2907779"/>
                <a:gd name="connsiteX2" fmla="*/ 3869534 w 7720078"/>
                <a:gd name="connsiteY2" fmla="*/ 1921907 h 2907779"/>
                <a:gd name="connsiteX3" fmla="*/ 7720078 w 7720078"/>
                <a:gd name="connsiteY3" fmla="*/ 2907779 h 2907779"/>
                <a:gd name="connsiteX4" fmla="*/ 7650759 w 7720078"/>
                <a:gd name="connsiteY4" fmla="*/ 0 h 2907779"/>
                <a:gd name="connsiteX5" fmla="*/ 3816991 w 7720078"/>
                <a:gd name="connsiteY5" fmla="*/ 1023457 h 2907779"/>
                <a:gd name="connsiteX6" fmla="*/ 1837189 w 7720078"/>
                <a:gd name="connsiteY6" fmla="*/ 1417740 h 2907779"/>
                <a:gd name="connsiteX7" fmla="*/ 0 w 7720078"/>
                <a:gd name="connsiteY7" fmla="*/ 1417740 h 2907779"/>
                <a:gd name="connsiteX0" fmla="*/ 0 w 7720078"/>
                <a:gd name="connsiteY0" fmla="*/ 1417740 h 2907779"/>
                <a:gd name="connsiteX1" fmla="*/ 1812022 w 7720078"/>
                <a:gd name="connsiteY1" fmla="*/ 1635854 h 2907779"/>
                <a:gd name="connsiteX2" fmla="*/ 3869534 w 7720078"/>
                <a:gd name="connsiteY2" fmla="*/ 1921907 h 2907779"/>
                <a:gd name="connsiteX3" fmla="*/ 7720078 w 7720078"/>
                <a:gd name="connsiteY3" fmla="*/ 2907779 h 2907779"/>
                <a:gd name="connsiteX4" fmla="*/ 7650759 w 7720078"/>
                <a:gd name="connsiteY4" fmla="*/ 0 h 2907779"/>
                <a:gd name="connsiteX5" fmla="*/ 3816991 w 7720078"/>
                <a:gd name="connsiteY5" fmla="*/ 1023457 h 2907779"/>
                <a:gd name="connsiteX6" fmla="*/ 1837189 w 7720078"/>
                <a:gd name="connsiteY6" fmla="*/ 1417740 h 2907779"/>
                <a:gd name="connsiteX7" fmla="*/ 0 w 7720078"/>
                <a:gd name="connsiteY7" fmla="*/ 1417740 h 2907779"/>
                <a:gd name="connsiteX0" fmla="*/ 0 w 7720078"/>
                <a:gd name="connsiteY0" fmla="*/ 1417740 h 2907779"/>
                <a:gd name="connsiteX1" fmla="*/ 1812022 w 7720078"/>
                <a:gd name="connsiteY1" fmla="*/ 1635854 h 2907779"/>
                <a:gd name="connsiteX2" fmla="*/ 3869534 w 7720078"/>
                <a:gd name="connsiteY2" fmla="*/ 1921907 h 2907779"/>
                <a:gd name="connsiteX3" fmla="*/ 7720078 w 7720078"/>
                <a:gd name="connsiteY3" fmla="*/ 2907779 h 2907779"/>
                <a:gd name="connsiteX4" fmla="*/ 7650759 w 7720078"/>
                <a:gd name="connsiteY4" fmla="*/ 0 h 2907779"/>
                <a:gd name="connsiteX5" fmla="*/ 3816991 w 7720078"/>
                <a:gd name="connsiteY5" fmla="*/ 1023457 h 2907779"/>
                <a:gd name="connsiteX6" fmla="*/ 1837189 w 7720078"/>
                <a:gd name="connsiteY6" fmla="*/ 1417740 h 2907779"/>
                <a:gd name="connsiteX7" fmla="*/ 0 w 7720078"/>
                <a:gd name="connsiteY7" fmla="*/ 1417740 h 2907779"/>
                <a:gd name="connsiteX0" fmla="*/ 0 w 7720078"/>
                <a:gd name="connsiteY0" fmla="*/ 1417740 h 2907779"/>
                <a:gd name="connsiteX1" fmla="*/ 1812022 w 7720078"/>
                <a:gd name="connsiteY1" fmla="*/ 1635854 h 2907779"/>
                <a:gd name="connsiteX2" fmla="*/ 3869534 w 7720078"/>
                <a:gd name="connsiteY2" fmla="*/ 1921907 h 2907779"/>
                <a:gd name="connsiteX3" fmla="*/ 7720078 w 7720078"/>
                <a:gd name="connsiteY3" fmla="*/ 2907779 h 2907779"/>
                <a:gd name="connsiteX4" fmla="*/ 7650759 w 7720078"/>
                <a:gd name="connsiteY4" fmla="*/ 0 h 2907779"/>
                <a:gd name="connsiteX5" fmla="*/ 3816991 w 7720078"/>
                <a:gd name="connsiteY5" fmla="*/ 1023457 h 2907779"/>
                <a:gd name="connsiteX6" fmla="*/ 1837189 w 7720078"/>
                <a:gd name="connsiteY6" fmla="*/ 1417740 h 2907779"/>
                <a:gd name="connsiteX7" fmla="*/ 0 w 7720078"/>
                <a:gd name="connsiteY7" fmla="*/ 1417740 h 2907779"/>
                <a:gd name="connsiteX0" fmla="*/ 0 w 7680672"/>
                <a:gd name="connsiteY0" fmla="*/ 1417740 h 2875333"/>
                <a:gd name="connsiteX1" fmla="*/ 1812022 w 7680672"/>
                <a:gd name="connsiteY1" fmla="*/ 1635854 h 2875333"/>
                <a:gd name="connsiteX2" fmla="*/ 3869534 w 7680672"/>
                <a:gd name="connsiteY2" fmla="*/ 1921907 h 2875333"/>
                <a:gd name="connsiteX3" fmla="*/ 7680672 w 7680672"/>
                <a:gd name="connsiteY3" fmla="*/ 2875333 h 2875333"/>
                <a:gd name="connsiteX4" fmla="*/ 7650759 w 7680672"/>
                <a:gd name="connsiteY4" fmla="*/ 0 h 2875333"/>
                <a:gd name="connsiteX5" fmla="*/ 3816991 w 7680672"/>
                <a:gd name="connsiteY5" fmla="*/ 1023457 h 2875333"/>
                <a:gd name="connsiteX6" fmla="*/ 1837189 w 7680672"/>
                <a:gd name="connsiteY6" fmla="*/ 1417740 h 2875333"/>
                <a:gd name="connsiteX7" fmla="*/ 0 w 7680672"/>
                <a:gd name="connsiteY7" fmla="*/ 1417740 h 2875333"/>
                <a:gd name="connsiteX0" fmla="*/ 0 w 7680672"/>
                <a:gd name="connsiteY0" fmla="*/ 1417740 h 2875333"/>
                <a:gd name="connsiteX1" fmla="*/ 1812022 w 7680672"/>
                <a:gd name="connsiteY1" fmla="*/ 1635854 h 2875333"/>
                <a:gd name="connsiteX2" fmla="*/ 3869534 w 7680672"/>
                <a:gd name="connsiteY2" fmla="*/ 1921907 h 2875333"/>
                <a:gd name="connsiteX3" fmla="*/ 7680672 w 7680672"/>
                <a:gd name="connsiteY3" fmla="*/ 2875333 h 2875333"/>
                <a:gd name="connsiteX4" fmla="*/ 7650759 w 7680672"/>
                <a:gd name="connsiteY4" fmla="*/ 0 h 2875333"/>
                <a:gd name="connsiteX5" fmla="*/ 3816991 w 7680672"/>
                <a:gd name="connsiteY5" fmla="*/ 1023457 h 2875333"/>
                <a:gd name="connsiteX6" fmla="*/ 1837189 w 7680672"/>
                <a:gd name="connsiteY6" fmla="*/ 1417740 h 2875333"/>
                <a:gd name="connsiteX7" fmla="*/ 0 w 7680672"/>
                <a:gd name="connsiteY7" fmla="*/ 1417740 h 2875333"/>
                <a:gd name="connsiteX0" fmla="*/ 0 w 7680672"/>
                <a:gd name="connsiteY0" fmla="*/ 1417740 h 2875333"/>
                <a:gd name="connsiteX1" fmla="*/ 1812022 w 7680672"/>
                <a:gd name="connsiteY1" fmla="*/ 1635854 h 2875333"/>
                <a:gd name="connsiteX2" fmla="*/ 3830128 w 7680672"/>
                <a:gd name="connsiteY2" fmla="*/ 1835384 h 2875333"/>
                <a:gd name="connsiteX3" fmla="*/ 7680672 w 7680672"/>
                <a:gd name="connsiteY3" fmla="*/ 2875333 h 2875333"/>
                <a:gd name="connsiteX4" fmla="*/ 7650759 w 7680672"/>
                <a:gd name="connsiteY4" fmla="*/ 0 h 2875333"/>
                <a:gd name="connsiteX5" fmla="*/ 3816991 w 7680672"/>
                <a:gd name="connsiteY5" fmla="*/ 1023457 h 2875333"/>
                <a:gd name="connsiteX6" fmla="*/ 1837189 w 7680672"/>
                <a:gd name="connsiteY6" fmla="*/ 1417740 h 2875333"/>
                <a:gd name="connsiteX7" fmla="*/ 0 w 7680672"/>
                <a:gd name="connsiteY7" fmla="*/ 1417740 h 2875333"/>
                <a:gd name="connsiteX0" fmla="*/ 0 w 7680672"/>
                <a:gd name="connsiteY0" fmla="*/ 1417740 h 2875333"/>
                <a:gd name="connsiteX1" fmla="*/ 1812022 w 7680672"/>
                <a:gd name="connsiteY1" fmla="*/ 1635854 h 2875333"/>
                <a:gd name="connsiteX2" fmla="*/ 3830128 w 7680672"/>
                <a:gd name="connsiteY2" fmla="*/ 1835384 h 2875333"/>
                <a:gd name="connsiteX3" fmla="*/ 7680672 w 7680672"/>
                <a:gd name="connsiteY3" fmla="*/ 2875333 h 2875333"/>
                <a:gd name="connsiteX4" fmla="*/ 7650759 w 7680672"/>
                <a:gd name="connsiteY4" fmla="*/ 0 h 2875333"/>
                <a:gd name="connsiteX5" fmla="*/ 3816991 w 7680672"/>
                <a:gd name="connsiteY5" fmla="*/ 1023457 h 2875333"/>
                <a:gd name="connsiteX6" fmla="*/ 1837189 w 7680672"/>
                <a:gd name="connsiteY6" fmla="*/ 1417740 h 2875333"/>
                <a:gd name="connsiteX7" fmla="*/ 0 w 7680672"/>
                <a:gd name="connsiteY7" fmla="*/ 1417740 h 2875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80672" h="2875333">
                  <a:moveTo>
                    <a:pt x="0" y="1417740"/>
                  </a:moveTo>
                  <a:lnTo>
                    <a:pt x="1812022" y="1635854"/>
                  </a:lnTo>
                  <a:lnTo>
                    <a:pt x="3830128" y="1835384"/>
                  </a:lnTo>
                  <a:cubicBezTo>
                    <a:pt x="5752899" y="2531730"/>
                    <a:pt x="5705359" y="2600786"/>
                    <a:pt x="7680672" y="2875333"/>
                  </a:cubicBezTo>
                  <a:lnTo>
                    <a:pt x="7650759" y="0"/>
                  </a:lnTo>
                  <a:lnTo>
                    <a:pt x="3816991" y="1023457"/>
                  </a:lnTo>
                  <a:lnTo>
                    <a:pt x="1837189" y="1417740"/>
                  </a:lnTo>
                  <a:lnTo>
                    <a:pt x="0" y="14177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457EE8D-8CE7-EEE2-B52C-8DCACA4720E4}"/>
                </a:ext>
              </a:extLst>
            </p:cNvPr>
            <p:cNvCxnSpPr>
              <a:cxnSpLocks/>
            </p:cNvCxnSpPr>
            <p:nvPr/>
          </p:nvCxnSpPr>
          <p:spPr>
            <a:xfrm>
              <a:off x="2468571" y="3969223"/>
              <a:ext cx="6497977" cy="0"/>
            </a:xfrm>
            <a:prstGeom prst="line">
              <a:avLst/>
            </a:prstGeom>
            <a:ln w="12700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552AB9B-E337-A0D8-89E4-1CC4BB1280D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23607" y="3320304"/>
              <a:ext cx="0" cy="1005840"/>
            </a:xfrm>
            <a:prstGeom prst="line">
              <a:avLst/>
            </a:prstGeom>
            <a:solidFill>
              <a:srgbClr val="001A36"/>
            </a:solidFill>
            <a:ln w="6350">
              <a:solidFill>
                <a:srgbClr val="001A3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922F8C83-DC0D-C730-A9C0-9B58D0882CD6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2487397" y="3624064"/>
              <a:ext cx="0" cy="345159"/>
            </a:xfrm>
            <a:prstGeom prst="line">
              <a:avLst/>
            </a:prstGeom>
            <a:solidFill>
              <a:srgbClr val="001A36"/>
            </a:solidFill>
            <a:ln w="6350">
              <a:solidFill>
                <a:srgbClr val="001A3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EA94D89A-87C7-3007-A058-AACAE21DCB33}"/>
                </a:ext>
              </a:extLst>
            </p:cNvPr>
            <p:cNvCxnSpPr>
              <a:cxnSpLocks/>
            </p:cNvCxnSpPr>
            <p:nvPr/>
          </p:nvCxnSpPr>
          <p:spPr>
            <a:xfrm>
              <a:off x="2475885" y="5260630"/>
              <a:ext cx="6601282" cy="0"/>
            </a:xfrm>
            <a:prstGeom prst="line">
              <a:avLst/>
            </a:prstGeom>
            <a:ln w="38100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2FBBCC4-5E51-468D-CB28-4E4DCE5BF1CB}"/>
                </a:ext>
              </a:extLst>
            </p:cNvPr>
            <p:cNvSpPr/>
            <p:nvPr/>
          </p:nvSpPr>
          <p:spPr>
            <a:xfrm rot="10800000">
              <a:off x="4036875" y="4091742"/>
              <a:ext cx="144000" cy="144000"/>
            </a:xfrm>
            <a:prstGeom prst="ellipse">
              <a:avLst/>
            </a:prstGeom>
            <a:solidFill>
              <a:srgbClr val="001A36"/>
            </a:solidFill>
            <a:ln>
              <a:solidFill>
                <a:srgbClr val="001A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2328C4E-B61C-8C16-215B-E56B6561F2C6}"/>
                </a:ext>
              </a:extLst>
            </p:cNvPr>
            <p:cNvSpPr txBox="1"/>
            <p:nvPr/>
          </p:nvSpPr>
          <p:spPr>
            <a:xfrm>
              <a:off x="2026293" y="3239561"/>
              <a:ext cx="953732" cy="2919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Baseline year 2008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9A73A89-6C00-339E-98A2-7D132D753CB8}"/>
                </a:ext>
              </a:extLst>
            </p:cNvPr>
            <p:cNvSpPr txBox="1"/>
            <p:nvPr/>
          </p:nvSpPr>
          <p:spPr>
            <a:xfrm>
              <a:off x="3615488" y="4589966"/>
              <a:ext cx="1001618" cy="2919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Peak as soon as possible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218BCDFE-D0B6-05C1-FAEC-184932ABED81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4104877" y="4158976"/>
              <a:ext cx="0" cy="345159"/>
            </a:xfrm>
            <a:prstGeom prst="line">
              <a:avLst/>
            </a:prstGeom>
            <a:solidFill>
              <a:srgbClr val="001A36"/>
            </a:solidFill>
            <a:ln w="6350">
              <a:solidFill>
                <a:srgbClr val="001A3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1B16C0C-38B4-D045-DBDE-B96D99EFE3BE}"/>
                </a:ext>
              </a:extLst>
            </p:cNvPr>
            <p:cNvSpPr txBox="1"/>
            <p:nvPr/>
          </p:nvSpPr>
          <p:spPr>
            <a:xfrm>
              <a:off x="6591610" y="2336605"/>
              <a:ext cx="1511946" cy="2919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Absolute: 70% reduction (striving for 80%)</a:t>
              </a: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B8C96C2-4210-2517-E151-F8DA22ED574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979594" y="2418852"/>
              <a:ext cx="24221" cy="2834640"/>
            </a:xfrm>
            <a:prstGeom prst="line">
              <a:avLst/>
            </a:prstGeom>
            <a:solidFill>
              <a:srgbClr val="001A36"/>
            </a:solidFill>
            <a:ln w="6350">
              <a:solidFill>
                <a:srgbClr val="001A3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2E80C95-3927-B451-F273-8B08CB58C345}"/>
                </a:ext>
              </a:extLst>
            </p:cNvPr>
            <p:cNvSpPr txBox="1"/>
            <p:nvPr/>
          </p:nvSpPr>
          <p:spPr>
            <a:xfrm>
              <a:off x="8289650" y="1776916"/>
              <a:ext cx="1379000" cy="4379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Absolute GHG emissions reach net-zero by or around 2050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5B6F8C5-2CE5-4A49-539E-D99117F13CF1}"/>
                </a:ext>
              </a:extLst>
            </p:cNvPr>
            <p:cNvSpPr txBox="1"/>
            <p:nvPr/>
          </p:nvSpPr>
          <p:spPr>
            <a:xfrm>
              <a:off x="2125171" y="5360090"/>
              <a:ext cx="729408" cy="139037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2008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6A10C954-4124-1E83-462D-E29109BEE981}"/>
                </a:ext>
              </a:extLst>
            </p:cNvPr>
            <p:cNvSpPr txBox="1"/>
            <p:nvPr/>
          </p:nvSpPr>
          <p:spPr>
            <a:xfrm>
              <a:off x="3613378" y="5360090"/>
              <a:ext cx="729408" cy="139037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2020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91DE272-EDE4-92EF-84CE-FAA651997B81}"/>
                </a:ext>
              </a:extLst>
            </p:cNvPr>
            <p:cNvSpPr txBox="1"/>
            <p:nvPr/>
          </p:nvSpPr>
          <p:spPr>
            <a:xfrm>
              <a:off x="5338523" y="5360090"/>
              <a:ext cx="729408" cy="139037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2030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A8368F1-C235-1E0B-20BC-B49B1EA47D76}"/>
                </a:ext>
              </a:extLst>
            </p:cNvPr>
            <p:cNvSpPr txBox="1"/>
            <p:nvPr/>
          </p:nvSpPr>
          <p:spPr>
            <a:xfrm>
              <a:off x="7016277" y="5360090"/>
              <a:ext cx="729408" cy="139037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2040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0E548B3-62BB-6D2A-1EB8-8BA7570683CE}"/>
                </a:ext>
              </a:extLst>
            </p:cNvPr>
            <p:cNvSpPr txBox="1"/>
            <p:nvPr/>
          </p:nvSpPr>
          <p:spPr>
            <a:xfrm>
              <a:off x="8611105" y="5360090"/>
              <a:ext cx="729408" cy="139037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2050</a:t>
              </a: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EAFF9C7-F438-DFF1-66AC-F5C4AA8A1030}"/>
                </a:ext>
              </a:extLst>
            </p:cNvPr>
            <p:cNvSpPr/>
            <p:nvPr/>
          </p:nvSpPr>
          <p:spPr>
            <a:xfrm>
              <a:off x="2444369" y="2745597"/>
              <a:ext cx="6534781" cy="1231580"/>
            </a:xfrm>
            <a:custGeom>
              <a:avLst/>
              <a:gdLst>
                <a:gd name="connsiteX0" fmla="*/ 0 w 5967413"/>
                <a:gd name="connsiteY0" fmla="*/ 633413 h 647700"/>
                <a:gd name="connsiteX1" fmla="*/ 1452563 w 5967413"/>
                <a:gd name="connsiteY1" fmla="*/ 647700 h 647700"/>
                <a:gd name="connsiteX2" fmla="*/ 2947988 w 5967413"/>
                <a:gd name="connsiteY2" fmla="*/ 471488 h 647700"/>
                <a:gd name="connsiteX3" fmla="*/ 4100513 w 5967413"/>
                <a:gd name="connsiteY3" fmla="*/ 300038 h 647700"/>
                <a:gd name="connsiteX4" fmla="*/ 5967413 w 5967413"/>
                <a:gd name="connsiteY4" fmla="*/ 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67413" h="647700">
                  <a:moveTo>
                    <a:pt x="0" y="633413"/>
                  </a:moveTo>
                  <a:lnTo>
                    <a:pt x="1452563" y="647700"/>
                  </a:lnTo>
                  <a:lnTo>
                    <a:pt x="2947988" y="471488"/>
                  </a:lnTo>
                  <a:lnTo>
                    <a:pt x="4100513" y="300038"/>
                  </a:lnTo>
                  <a:lnTo>
                    <a:pt x="5967413" y="0"/>
                  </a:lnTo>
                </a:path>
              </a:pathLst>
            </a:custGeom>
            <a:noFill/>
            <a:ln w="28575">
              <a:solidFill>
                <a:schemeClr val="accent3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05843A5-2D5D-633C-9FE2-881A61743E80}"/>
                </a:ext>
              </a:extLst>
            </p:cNvPr>
            <p:cNvSpPr/>
            <p:nvPr/>
          </p:nvSpPr>
          <p:spPr>
            <a:xfrm>
              <a:off x="7306154" y="4944211"/>
              <a:ext cx="1770177" cy="303480"/>
            </a:xfrm>
            <a:custGeom>
              <a:avLst/>
              <a:gdLst>
                <a:gd name="connsiteX0" fmla="*/ 0 w 3825379"/>
                <a:gd name="connsiteY0" fmla="*/ 0 h 696286"/>
                <a:gd name="connsiteX1" fmla="*/ 3825379 w 3825379"/>
                <a:gd name="connsiteY1" fmla="*/ 696286 h 696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25379" h="696286">
                  <a:moveTo>
                    <a:pt x="0" y="0"/>
                  </a:moveTo>
                  <a:lnTo>
                    <a:pt x="3825379" y="696286"/>
                  </a:lnTo>
                </a:path>
              </a:pathLst>
            </a:custGeom>
            <a:noFill/>
            <a:ln w="28575">
              <a:solidFill>
                <a:srgbClr val="001A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270211A3-6576-8404-4B53-A2950163643C}"/>
                </a:ext>
              </a:extLst>
            </p:cNvPr>
            <p:cNvSpPr/>
            <p:nvPr/>
          </p:nvSpPr>
          <p:spPr>
            <a:xfrm>
              <a:off x="2417415" y="3900257"/>
              <a:ext cx="144000" cy="144000"/>
            </a:xfrm>
            <a:prstGeom prst="ellipse">
              <a:avLst/>
            </a:prstGeom>
            <a:solidFill>
              <a:srgbClr val="001A36"/>
            </a:solidFill>
            <a:ln>
              <a:solidFill>
                <a:srgbClr val="001A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F5D5147-60C4-EBD3-6F96-72AA69C80BC7}"/>
                </a:ext>
              </a:extLst>
            </p:cNvPr>
            <p:cNvSpPr/>
            <p:nvPr/>
          </p:nvSpPr>
          <p:spPr>
            <a:xfrm>
              <a:off x="5640660" y="4299570"/>
              <a:ext cx="144000" cy="144000"/>
            </a:xfrm>
            <a:prstGeom prst="ellipse">
              <a:avLst/>
            </a:prstGeom>
            <a:solidFill>
              <a:srgbClr val="001A36"/>
            </a:solidFill>
            <a:ln>
              <a:solidFill>
                <a:srgbClr val="001A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798C602F-E998-B4AB-B639-00C8292BAA13}"/>
                </a:ext>
              </a:extLst>
            </p:cNvPr>
            <p:cNvSpPr/>
            <p:nvPr/>
          </p:nvSpPr>
          <p:spPr>
            <a:xfrm>
              <a:off x="8939414" y="5197449"/>
              <a:ext cx="144000" cy="144000"/>
            </a:xfrm>
            <a:prstGeom prst="ellipse">
              <a:avLst/>
            </a:prstGeom>
            <a:solidFill>
              <a:srgbClr val="001A36"/>
            </a:solidFill>
            <a:ln>
              <a:solidFill>
                <a:srgbClr val="001A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2F99140-A97E-2908-F0B5-9710A4C7BF08}"/>
                </a:ext>
              </a:extLst>
            </p:cNvPr>
            <p:cNvSpPr/>
            <p:nvPr/>
          </p:nvSpPr>
          <p:spPr>
            <a:xfrm>
              <a:off x="2531221" y="3973120"/>
              <a:ext cx="1581722" cy="213821"/>
            </a:xfrm>
            <a:custGeom>
              <a:avLst/>
              <a:gdLst>
                <a:gd name="connsiteX0" fmla="*/ 0 w 3825379"/>
                <a:gd name="connsiteY0" fmla="*/ 0 h 696286"/>
                <a:gd name="connsiteX1" fmla="*/ 3825379 w 3825379"/>
                <a:gd name="connsiteY1" fmla="*/ 696286 h 696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25379" h="696286">
                  <a:moveTo>
                    <a:pt x="0" y="0"/>
                  </a:moveTo>
                  <a:lnTo>
                    <a:pt x="3825379" y="696286"/>
                  </a:lnTo>
                </a:path>
              </a:pathLst>
            </a:custGeom>
            <a:noFill/>
            <a:ln w="28575">
              <a:solidFill>
                <a:srgbClr val="001A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C760B38-AA8A-8C4E-A4BF-CF12FC35BEE1}"/>
                </a:ext>
              </a:extLst>
            </p:cNvPr>
            <p:cNvSpPr/>
            <p:nvPr/>
          </p:nvSpPr>
          <p:spPr>
            <a:xfrm>
              <a:off x="4039411" y="4172647"/>
              <a:ext cx="1697877" cy="186958"/>
            </a:xfrm>
            <a:custGeom>
              <a:avLst/>
              <a:gdLst>
                <a:gd name="connsiteX0" fmla="*/ 0 w 3825379"/>
                <a:gd name="connsiteY0" fmla="*/ 0 h 696286"/>
                <a:gd name="connsiteX1" fmla="*/ 3825379 w 3825379"/>
                <a:gd name="connsiteY1" fmla="*/ 696286 h 696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25379" h="696286">
                  <a:moveTo>
                    <a:pt x="0" y="0"/>
                  </a:moveTo>
                  <a:lnTo>
                    <a:pt x="3825379" y="696286"/>
                  </a:lnTo>
                </a:path>
              </a:pathLst>
            </a:custGeom>
            <a:noFill/>
            <a:ln w="28575">
              <a:solidFill>
                <a:srgbClr val="001A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1207127-0932-FF1C-B420-A63AE924353E}"/>
                </a:ext>
              </a:extLst>
            </p:cNvPr>
            <p:cNvSpPr/>
            <p:nvPr/>
          </p:nvSpPr>
          <p:spPr>
            <a:xfrm>
              <a:off x="5736661" y="4359605"/>
              <a:ext cx="1700990" cy="622533"/>
            </a:xfrm>
            <a:custGeom>
              <a:avLst/>
              <a:gdLst>
                <a:gd name="connsiteX0" fmla="*/ 0 w 3825379"/>
                <a:gd name="connsiteY0" fmla="*/ 0 h 696286"/>
                <a:gd name="connsiteX1" fmla="*/ 3825379 w 3825379"/>
                <a:gd name="connsiteY1" fmla="*/ 696286 h 696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25379" h="696286">
                  <a:moveTo>
                    <a:pt x="0" y="0"/>
                  </a:moveTo>
                  <a:lnTo>
                    <a:pt x="3825379" y="696286"/>
                  </a:lnTo>
                </a:path>
              </a:pathLst>
            </a:custGeom>
            <a:noFill/>
            <a:ln w="28575">
              <a:solidFill>
                <a:srgbClr val="001A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DEEE540A-A921-173C-7AB4-DAFFC175E171}"/>
                </a:ext>
              </a:extLst>
            </p:cNvPr>
            <p:cNvSpPr/>
            <p:nvPr/>
          </p:nvSpPr>
          <p:spPr>
            <a:xfrm>
              <a:off x="7296384" y="4906502"/>
              <a:ext cx="144000" cy="144000"/>
            </a:xfrm>
            <a:prstGeom prst="ellipse">
              <a:avLst/>
            </a:prstGeom>
            <a:solidFill>
              <a:srgbClr val="001A36"/>
            </a:solidFill>
            <a:ln>
              <a:solidFill>
                <a:srgbClr val="001A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83347F40-083E-AAEF-44C5-A2FE29A06B6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362207" y="2713549"/>
              <a:ext cx="7843" cy="2274413"/>
            </a:xfrm>
            <a:prstGeom prst="line">
              <a:avLst/>
            </a:prstGeom>
            <a:solidFill>
              <a:srgbClr val="001A36"/>
            </a:solidFill>
            <a:ln w="6350">
              <a:solidFill>
                <a:srgbClr val="001A3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975C9C6-36F7-16D1-9954-05996CA83C57}"/>
                </a:ext>
              </a:extLst>
            </p:cNvPr>
            <p:cNvSpPr txBox="1"/>
            <p:nvPr/>
          </p:nvSpPr>
          <p:spPr>
            <a:xfrm>
              <a:off x="4925352" y="2175693"/>
              <a:ext cx="1620615" cy="116791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Absolute: 20% reduction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(striving for 30%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Intensity: 40% reduction</a:t>
              </a:r>
              <a:b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</a:b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/>
                  <a:ea typeface="+mn-ea"/>
                  <a:cs typeface="+mn-cs"/>
                </a:rPr>
                <a:t>Zero or near-zero carbon energy share: 5% (striving for 10%)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02DBE2D-82AE-0FB3-86D3-E15AB8460601}"/>
              </a:ext>
            </a:extLst>
          </p:cNvPr>
          <p:cNvGrpSpPr/>
          <p:nvPr/>
        </p:nvGrpSpPr>
        <p:grpSpPr>
          <a:xfrm>
            <a:off x="9660699" y="4434122"/>
            <a:ext cx="2139990" cy="1053043"/>
            <a:chOff x="10020207" y="4525954"/>
            <a:chExt cx="2139990" cy="1053043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0E8BFEC5-501B-BF28-BC17-D71CE4C1A893}"/>
                </a:ext>
              </a:extLst>
            </p:cNvPr>
            <p:cNvGrpSpPr/>
            <p:nvPr/>
          </p:nvGrpSpPr>
          <p:grpSpPr>
            <a:xfrm>
              <a:off x="10020207" y="4525954"/>
              <a:ext cx="2139990" cy="276999"/>
              <a:chOff x="2764636" y="6299567"/>
              <a:chExt cx="2139990" cy="276999"/>
            </a:xfrm>
          </p:grpSpPr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1E7BD5FB-F75D-FA91-86B8-639FC83ACD54}"/>
                  </a:ext>
                </a:extLst>
              </p:cNvPr>
              <p:cNvSpPr txBox="1"/>
              <p:nvPr/>
            </p:nvSpPr>
            <p:spPr>
              <a:xfrm>
                <a:off x="3101550" y="6299567"/>
                <a:ext cx="180307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9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T Walsheim Pro" panose="00000500000000000000" pitchFamily="2" charset="0"/>
                    <a:ea typeface="+mn-ea"/>
                    <a:cs typeface="+mn-cs"/>
                  </a:rPr>
                  <a:t>Emissions pathway in line with IMO’s revised GHG strategy</a:t>
                </a: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FF1B010F-A906-5AE9-27E9-E837F9A2EA4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64636" y="6330066"/>
                <a:ext cx="216000" cy="216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T Walsheim Pro"/>
                  <a:ea typeface="+mn-ea"/>
                  <a:cs typeface="+mn-cs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B2FDE3B2-027E-AEC9-851A-53C677A792C0}"/>
                </a:ext>
              </a:extLst>
            </p:cNvPr>
            <p:cNvGrpSpPr/>
            <p:nvPr/>
          </p:nvGrpSpPr>
          <p:grpSpPr>
            <a:xfrm>
              <a:off x="10020207" y="4983591"/>
              <a:ext cx="1801170" cy="216000"/>
              <a:chOff x="5087721" y="6330066"/>
              <a:chExt cx="1801170" cy="216000"/>
            </a:xfrm>
          </p:grpSpPr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264BDB32-88A5-129D-CF62-88212D61F88F}"/>
                  </a:ext>
                </a:extLst>
              </p:cNvPr>
              <p:cNvSpPr txBox="1"/>
              <p:nvPr/>
            </p:nvSpPr>
            <p:spPr>
              <a:xfrm>
                <a:off x="5416983" y="6368816"/>
                <a:ext cx="1471908" cy="1385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9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T Walsheim Pro" panose="00000500000000000000" pitchFamily="2" charset="0"/>
                    <a:ea typeface="+mn-ea"/>
                    <a:cs typeface="+mn-cs"/>
                  </a:rPr>
                  <a:t>Business-as-usual emissions</a:t>
                </a: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362D8CB5-D664-6B5D-AC92-0760295A2B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87721" y="6330066"/>
                <a:ext cx="216000" cy="216000"/>
              </a:xfrm>
              <a:prstGeom prst="ellipse">
                <a:avLst/>
              </a:prstGeom>
              <a:solidFill>
                <a:srgbClr val="6E80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T Walsheim Pro"/>
                  <a:ea typeface="+mn-ea"/>
                  <a:cs typeface="+mn-cs"/>
                </a:endParaRPr>
              </a:p>
            </p:txBody>
          </p: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006BB5B-F7CC-FB33-14D6-26F1BA96A6C9}"/>
                </a:ext>
              </a:extLst>
            </p:cNvPr>
            <p:cNvGrpSpPr/>
            <p:nvPr/>
          </p:nvGrpSpPr>
          <p:grpSpPr>
            <a:xfrm>
              <a:off x="10020207" y="5362997"/>
              <a:ext cx="1839004" cy="216000"/>
              <a:chOff x="7240052" y="6330066"/>
              <a:chExt cx="1839004" cy="216000"/>
            </a:xfrm>
          </p:grpSpPr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71E7ADA5-5813-F454-24B2-E212C563B8B0}"/>
                  </a:ext>
                </a:extLst>
              </p:cNvPr>
              <p:cNvSpPr txBox="1"/>
              <p:nvPr/>
            </p:nvSpPr>
            <p:spPr>
              <a:xfrm>
                <a:off x="7571108" y="6368817"/>
                <a:ext cx="1507948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9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T Walsheim Pro" panose="00000500000000000000" pitchFamily="2" charset="0"/>
                    <a:ea typeface="+mn-ea"/>
                    <a:cs typeface="+mn-cs"/>
                  </a:rPr>
                  <a:t>Emission gap</a:t>
                </a: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D79C6894-0FC8-9CC3-1216-51C3935C285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240052" y="6330066"/>
                <a:ext cx="216000" cy="216000"/>
              </a:xfrm>
              <a:prstGeom prst="ellipse">
                <a:avLst/>
              </a:prstGeom>
              <a:solidFill>
                <a:srgbClr val="D9D9D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T Walsheim Pro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48261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665C550-CB63-4BD6-3D7E-712E8BF430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2357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65C550-CB63-4BD6-3D7E-712E8BF430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408B0C7-89A6-8A6B-F7A1-DA618BA62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6" y="504363"/>
            <a:ext cx="11160125" cy="530594"/>
          </a:xfrm>
        </p:spPr>
        <p:txBody>
          <a:bodyPr vert="horz">
            <a:noAutofit/>
          </a:bodyPr>
          <a:lstStyle/>
          <a:p>
            <a:r>
              <a:rPr lang="en-US" sz="3000" b="1">
                <a:latin typeface="Arial" panose="020B0604020202020204" pitchFamily="34" charset="0"/>
                <a:cs typeface="Arial" panose="020B0604020202020204" pitchFamily="34" charset="0"/>
              </a:rPr>
              <a:t>IM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BE343-3784-2DF5-FD21-F542889435D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16</a:t>
            </a:fld>
            <a:endParaRPr lang="da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5EBA55C-C641-1B3F-2B3A-3830D0D4ECA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>
                <a:latin typeface="Arial" panose="020B0604020202020204" pitchFamily="34" charset="0"/>
              </a:rPr>
              <a:t>State of play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1565F96-71E6-235D-0BA1-CD26978E3507}"/>
              </a:ext>
            </a:extLst>
          </p:cNvPr>
          <p:cNvCxnSpPr>
            <a:cxnSpLocks/>
          </p:cNvCxnSpPr>
          <p:nvPr/>
        </p:nvCxnSpPr>
        <p:spPr>
          <a:xfrm>
            <a:off x="6083025" y="2220684"/>
            <a:ext cx="0" cy="3618411"/>
          </a:xfrm>
          <a:prstGeom prst="line">
            <a:avLst/>
          </a:prstGeom>
          <a:ln w="12700">
            <a:gradFill>
              <a:gsLst>
                <a:gs pos="0">
                  <a:schemeClr val="accent5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C7E4E310-83A7-0E18-C262-EBB202130BC8}"/>
              </a:ext>
            </a:extLst>
          </p:cNvPr>
          <p:cNvSpPr txBox="1"/>
          <p:nvPr/>
        </p:nvSpPr>
        <p:spPr>
          <a:xfrm>
            <a:off x="6466114" y="2220684"/>
            <a:ext cx="3007342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D5986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onomic meas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56F9002-FC42-FD4F-DBF9-426BBD9833D0}"/>
              </a:ext>
            </a:extLst>
          </p:cNvPr>
          <p:cNvSpPr txBox="1"/>
          <p:nvPr/>
        </p:nvSpPr>
        <p:spPr>
          <a:xfrm>
            <a:off x="515936" y="2220684"/>
            <a:ext cx="3429046" cy="3693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D5986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wo core proposals for GFI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3CDA3CE-61C2-6162-1CD9-A4743E5A96C0}"/>
              </a:ext>
            </a:extLst>
          </p:cNvPr>
          <p:cNvSpPr txBox="1"/>
          <p:nvPr/>
        </p:nvSpPr>
        <p:spPr>
          <a:xfrm>
            <a:off x="515935" y="1568905"/>
            <a:ext cx="11134177" cy="400110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</a:rPr>
              <a:t>Global Fuel Intensity target/Global Fuel Standard + an economic measure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D25813C-AF62-F834-0D49-8E7993C59E14}"/>
              </a:ext>
            </a:extLst>
          </p:cNvPr>
          <p:cNvSpPr txBox="1"/>
          <p:nvPr/>
        </p:nvSpPr>
        <p:spPr>
          <a:xfrm>
            <a:off x="515936" y="2884591"/>
            <a:ext cx="5184000" cy="1384995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</a:rPr>
              <a:t>Scope: </a:t>
            </a:r>
            <a:r>
              <a:rPr lang="en-US" sz="1600" err="1">
                <a:latin typeface="Arial" panose="020B0604020202020204" pitchFamily="34" charset="0"/>
              </a:rPr>
              <a:t>WtW</a:t>
            </a:r>
            <a:r>
              <a:rPr lang="en-US" sz="1600">
                <a:latin typeface="Arial" panose="020B0604020202020204" pitchFamily="34" charset="0"/>
              </a:rPr>
              <a:t> or </a:t>
            </a:r>
            <a:r>
              <a:rPr lang="en-US" sz="1600" err="1">
                <a:latin typeface="Arial" panose="020B0604020202020204" pitchFamily="34" charset="0"/>
              </a:rPr>
              <a:t>TtW</a:t>
            </a:r>
            <a:r>
              <a:rPr lang="en-US" sz="1600">
                <a:latin typeface="Arial" panose="020B0604020202020204" pitchFamily="34" charset="0"/>
              </a:rPr>
              <a:t> with </a:t>
            </a:r>
            <a:r>
              <a:rPr lang="en-US" sz="1600" err="1">
                <a:latin typeface="Arial" panose="020B0604020202020204" pitchFamily="34" charset="0"/>
              </a:rPr>
              <a:t>categorisation</a:t>
            </a:r>
            <a:r>
              <a:rPr lang="en-US" sz="1600">
                <a:latin typeface="Arial" panose="020B0604020202020204" pitchFamily="34" charset="0"/>
              </a:rPr>
              <a:t> on </a:t>
            </a:r>
            <a:r>
              <a:rPr lang="en-US" sz="1600" err="1">
                <a:latin typeface="Arial" panose="020B0604020202020204" pitchFamily="34" charset="0"/>
              </a:rPr>
              <a:t>WtT</a:t>
            </a:r>
            <a:r>
              <a:rPr lang="en-US" sz="1600">
                <a:latin typeface="Arial" panose="020B0604020202020204" pitchFamily="34" charset="0"/>
              </a:rPr>
              <a:t> and sustainability criteria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</a:rPr>
              <a:t>Flexibility provisions?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</a:rPr>
              <a:t>Integrated and / or separate economic instrument?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FA74D71-8F80-0201-FF6A-3937B583B2E8}"/>
              </a:ext>
            </a:extLst>
          </p:cNvPr>
          <p:cNvSpPr txBox="1"/>
          <p:nvPr/>
        </p:nvSpPr>
        <p:spPr>
          <a:xfrm>
            <a:off x="6535780" y="2884591"/>
            <a:ext cx="5114333" cy="267765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</a:rPr>
              <a:t>Significant divide between countries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</a:rPr>
              <a:t>“Europe +” – necessary supplemental mechanism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</a:rPr>
              <a:t>A number of Pacific SIDS / Caribbean islands – essential primary mechanism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</a:rPr>
              <a:t>A number of developing countries – totally unacceptable tax on trade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</a:rPr>
              <a:t>MEPC 82 in October will need to resolve key political differenc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E27E121-E0D9-5A00-6F42-C6EB33BCADC9}"/>
              </a:ext>
            </a:extLst>
          </p:cNvPr>
          <p:cNvCxnSpPr>
            <a:cxnSpLocks/>
          </p:cNvCxnSpPr>
          <p:nvPr/>
        </p:nvCxnSpPr>
        <p:spPr>
          <a:xfrm flipV="1">
            <a:off x="515936" y="2584142"/>
            <a:ext cx="51840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E4A37727-DD08-66F8-DCCF-ADD23A8EAD02}"/>
              </a:ext>
            </a:extLst>
          </p:cNvPr>
          <p:cNvCxnSpPr>
            <a:cxnSpLocks/>
          </p:cNvCxnSpPr>
          <p:nvPr/>
        </p:nvCxnSpPr>
        <p:spPr>
          <a:xfrm flipV="1">
            <a:off x="6466114" y="2603614"/>
            <a:ext cx="51840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106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F3D1FA-2273-FC68-9941-F40F6A335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9A35C5-0792-9A94-133A-21B791DD37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Game changing regu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No ship can operate BA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Focus on contractual relationship with </a:t>
            </a:r>
            <a:r>
              <a:rPr lang="en-US" sz="2000" dirty="0" err="1"/>
              <a:t>DoC</a:t>
            </a:r>
            <a:r>
              <a:rPr lang="en-US" sz="2000" dirty="0"/>
              <a:t> holder, verifier etc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Preparation is key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MO will follow with similar meas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t’s a question of levels of ambi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BBF0D5-3314-87F2-AF34-91D24321FA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17</a:t>
            </a:fld>
            <a:endParaRPr lang="da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933B57-18A9-B99C-5308-582F7AF9EC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44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flag with a logo on it&#10;&#10;Description automatically generated">
            <a:extLst>
              <a:ext uri="{FF2B5EF4-FFF2-40B4-BE49-F238E27FC236}">
                <a16:creationId xmlns:a16="http://schemas.microsoft.com/office/drawing/2014/main" id="{F720F551-EB99-FEAE-96D7-7A038906751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" y="0"/>
            <a:ext cx="12191995" cy="6858000"/>
          </a:xfrm>
          <a:noFill/>
        </p:spPr>
      </p:pic>
      <p:sp>
        <p:nvSpPr>
          <p:cNvPr id="12" name="Title 2">
            <a:extLst>
              <a:ext uri="{FF2B5EF4-FFF2-40B4-BE49-F238E27FC236}">
                <a16:creationId xmlns:a16="http://schemas.microsoft.com/office/drawing/2014/main" id="{6E7A5F0C-8ADA-E716-26BA-CF471CA369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8359" y="4316468"/>
            <a:ext cx="11197703" cy="1230337"/>
          </a:xfrm>
        </p:spPr>
        <p:txBody>
          <a:bodyPr/>
          <a:lstStyle/>
          <a:p>
            <a:r>
              <a:rPr lang="en-US"/>
              <a:t>Thank You</a:t>
            </a:r>
          </a:p>
        </p:txBody>
      </p:sp>
      <p:sp>
        <p:nvSpPr>
          <p:cNvPr id="14" name="Subtitle 3">
            <a:extLst>
              <a:ext uri="{FF2B5EF4-FFF2-40B4-BE49-F238E27FC236}">
                <a16:creationId xmlns:a16="http://schemas.microsoft.com/office/drawing/2014/main" id="{13FAB459-4CEF-F29D-B24D-D8075BB58F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8" y="5510547"/>
            <a:ext cx="7776292" cy="107188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BB4EFBB-5CEB-EF30-6934-873BEACA12B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15938" y="488271"/>
            <a:ext cx="1616400" cy="9648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0D0161E2-0E6F-B845-1A7C-B8F7EAAA387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515938" y="6381402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73BC3415-6A21-2E49-A058-D443F991EEAB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1E3B">
                    <a:tint val="75000"/>
                  </a:srgbClr>
                </a:solidFill>
                <a:effectLst/>
                <a:uLnTx/>
                <a:uFillTx/>
                <a:latin typeface="GT Walsheim Pro" panose="00000500000000000000" pitchFamily="50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srgbClr val="001E3B">
                  <a:tint val="75000"/>
                </a:srgbClr>
              </a:solidFill>
              <a:effectLst/>
              <a:uLnTx/>
              <a:uFillTx/>
              <a:latin typeface="GT Walsheim Pro" panose="00000500000000000000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041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D0D29D-95AD-67FC-8D3C-6D1C44981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616488"/>
            <a:ext cx="3319792" cy="1190600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Mid-term meas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3A58D6-05AF-F0A9-966C-88CA9E7010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48267" y="597853"/>
            <a:ext cx="6827796" cy="5494972"/>
          </a:xfrm>
        </p:spPr>
        <p:txBody>
          <a:bodyPr>
            <a:normAutofit lnSpcReduction="10000"/>
          </a:bodyPr>
          <a:lstStyle/>
          <a:p>
            <a:r>
              <a:rPr lang="en-US" dirty="0"/>
              <a:t>ECONOMIC MEASURE</a:t>
            </a:r>
          </a:p>
          <a:p>
            <a:r>
              <a:rPr lang="en-US" dirty="0"/>
              <a:t>TECHNICAL MEASURE – Global Fuel Standard (GFS)/Global Fuel Intensity (GFI) target</a:t>
            </a:r>
          </a:p>
          <a:p>
            <a:r>
              <a:rPr lang="en-US" dirty="0"/>
              <a:t>GHG fuel intensity (GFI) target, which could be either on a tank-to-wake basis combined with sustainability criteria or on a full well-to-wake basis.</a:t>
            </a:r>
          </a:p>
          <a:p>
            <a:r>
              <a:rPr lang="en-US" dirty="0"/>
              <a:t>No flexibility, creating a completely level playing field, or the inclusion of flexibility elements such as route or cargo exemptions. </a:t>
            </a:r>
          </a:p>
          <a:p>
            <a:endParaRPr lang="en-US" dirty="0"/>
          </a:p>
          <a:p>
            <a:r>
              <a:rPr lang="en-US" dirty="0"/>
              <a:t>A potential pricing mechanism which either takes the form of a feebate or levy. </a:t>
            </a:r>
          </a:p>
          <a:p>
            <a:r>
              <a:rPr lang="en-US" dirty="0"/>
              <a:t>Revenue disbursement areas, which could include R&amp;D, adaptation efforts, mitigating disproportionately negative impacts (DNI) and/or capacity building. 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AFF96E71-28C7-2A34-AEAF-2159330BF8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15938" y="6381402"/>
            <a:ext cx="2743200" cy="365125"/>
          </a:xfrm>
        </p:spPr>
        <p:txBody>
          <a:bodyPr/>
          <a:lstStyle/>
          <a:p>
            <a:fld id="{73BC3415-6A21-2E49-A058-D443F991EEAB}" type="slidenum">
              <a:rPr lang="da-DK" smtClean="0"/>
              <a:pPr/>
              <a:t>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17891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52EC7D6-0471-033B-4958-D4D31100F3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52EC7D6-0471-033B-4958-D4D31100F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illede 15">
            <a:extLst>
              <a:ext uri="{FF2B5EF4-FFF2-40B4-BE49-F238E27FC236}">
                <a16:creationId xmlns:a16="http://schemas.microsoft.com/office/drawing/2014/main" id="{4A030454-3FD5-E638-07D4-24633989783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99911" y="1639229"/>
            <a:ext cx="13947919" cy="5679217"/>
          </a:xfrm>
          <a:prstGeom prst="rect">
            <a:avLst/>
          </a:prstGeom>
          <a:noFill/>
        </p:spPr>
      </p:pic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A4FC4FED-3FA6-C7A2-BF41-78CED65DE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1E3B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1E3B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96CA8811-1765-CB94-CB83-B4DDEB7AC507}"/>
              </a:ext>
            </a:extLst>
          </p:cNvPr>
          <p:cNvSpPr/>
          <p:nvPr/>
        </p:nvSpPr>
        <p:spPr>
          <a:xfrm>
            <a:off x="9513740" y="2373818"/>
            <a:ext cx="1200649" cy="127964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  <a:t>Nationalities</a:t>
            </a:r>
            <a:br>
              <a:rPr kumimoji="0" lang="da-DK" sz="1400" b="0" i="0" u="none" strike="noStrike" kern="1200" cap="all" spc="0" normalizeH="0" baseline="0" noProof="0" dirty="0">
                <a:ln>
                  <a:noFill/>
                </a:ln>
                <a:solidFill>
                  <a:srgbClr val="1B99A1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</a:br>
            <a:endParaRPr kumimoji="0" lang="da-DK" sz="11600" b="0" i="0" u="none" strike="noStrike" kern="1200" cap="none" spc="0" normalizeH="0" baseline="0" noProof="0" dirty="0">
              <a:ln>
                <a:noFill/>
              </a:ln>
              <a:solidFill>
                <a:srgbClr val="001A36"/>
              </a:solidFill>
              <a:effectLst/>
              <a:uLnTx/>
              <a:uFillTx/>
              <a:latin typeface="GT Walsheim Pro" panose="00000500000000000000" pitchFamily="2" charset="0"/>
              <a:ea typeface="+mn-ea"/>
              <a:cs typeface="+mn-cs"/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7645C774-B845-D628-99D1-6DE8CBE1041B}"/>
              </a:ext>
            </a:extLst>
          </p:cNvPr>
          <p:cNvSpPr/>
          <p:nvPr/>
        </p:nvSpPr>
        <p:spPr>
          <a:xfrm>
            <a:off x="4333563" y="4086500"/>
            <a:ext cx="2902474" cy="1522516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  <a:t>ports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1B99A1"/>
              </a:solidFill>
              <a:effectLst/>
              <a:uLnTx/>
              <a:uFillTx/>
              <a:latin typeface="GT Walsheim Pro" panose="00000500000000000000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8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0" b="0" i="0" u="none" strike="noStrike" kern="1200" cap="none" spc="0" normalizeH="0" baseline="0" noProof="0" dirty="0">
                <a:ln>
                  <a:noFill/>
                </a:ln>
                <a:solidFill>
                  <a:srgbClr val="001A36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  <a:t>1,764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7D792C6A-F675-3119-FF02-A0B2EAD9DDA8}"/>
              </a:ext>
            </a:extLst>
          </p:cNvPr>
          <p:cNvSpPr/>
          <p:nvPr/>
        </p:nvSpPr>
        <p:spPr>
          <a:xfrm>
            <a:off x="4125021" y="2377070"/>
            <a:ext cx="3202626" cy="1522516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  <a:t>Enquiries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1B99A1"/>
              </a:solidFill>
              <a:effectLst/>
              <a:uLnTx/>
              <a:uFillTx/>
              <a:latin typeface="GT Walsheim Pro" panose="00000500000000000000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8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0" b="0" i="0" u="none" strike="noStrike" kern="1200" cap="none" spc="0" normalizeH="0" baseline="0" noProof="0" dirty="0">
                <a:ln>
                  <a:noFill/>
                </a:ln>
                <a:solidFill>
                  <a:srgbClr val="001A36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  <a:t>111,398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EE7E801B-36E2-88E0-2869-1F54BABCE36A}"/>
              </a:ext>
            </a:extLst>
          </p:cNvPr>
          <p:cNvSpPr/>
          <p:nvPr/>
        </p:nvSpPr>
        <p:spPr>
          <a:xfrm>
            <a:off x="7745559" y="4074337"/>
            <a:ext cx="3331747" cy="1522516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  <a:t>employees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1B99A1"/>
              </a:solidFill>
              <a:effectLst/>
              <a:uLnTx/>
              <a:uFillTx/>
              <a:latin typeface="GT Walsheim Pro" panose="00000500000000000000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8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0" b="0" i="0" u="none" strike="noStrike" kern="1200" cap="none" spc="0" normalizeH="0" baseline="0" noProof="0" dirty="0">
                <a:ln>
                  <a:noFill/>
                </a:ln>
                <a:solidFill>
                  <a:srgbClr val="4797A8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  <a:t>1,500+</a:t>
            </a:r>
          </a:p>
        </p:txBody>
      </p:sp>
      <p:pic>
        <p:nvPicPr>
          <p:cNvPr id="17" name="Billede 4">
            <a:extLst>
              <a:ext uri="{FF2B5EF4-FFF2-40B4-BE49-F238E27FC236}">
                <a16:creationId xmlns:a16="http://schemas.microsoft.com/office/drawing/2014/main" id="{15488DB5-FA63-DDF7-5550-7ED24088B77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05812" y="6206271"/>
            <a:ext cx="1903307" cy="780422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F7057122-67F2-4305-2328-1D213988A98C}"/>
              </a:ext>
            </a:extLst>
          </p:cNvPr>
          <p:cNvSpPr/>
          <p:nvPr/>
        </p:nvSpPr>
        <p:spPr>
          <a:xfrm>
            <a:off x="2233088" y="3582533"/>
            <a:ext cx="956993" cy="179260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  <a:t>Countries</a:t>
            </a:r>
            <a:br>
              <a:rPr kumimoji="0" lang="da-DK" sz="14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</a:br>
            <a:br>
              <a:rPr kumimoji="0" lang="da-DK" sz="14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</a:br>
            <a:endParaRPr kumimoji="0" lang="da-DK" sz="11600" b="0" i="0" u="none" strike="noStrike" kern="1200" cap="none" spc="0" normalizeH="0" baseline="0" noProof="0" dirty="0">
              <a:ln>
                <a:noFill/>
              </a:ln>
              <a:solidFill>
                <a:srgbClr val="001A36"/>
              </a:solidFill>
              <a:effectLst/>
              <a:uLnTx/>
              <a:uFillTx/>
              <a:latin typeface="GT Walsheim Pro" panose="00000500000000000000" pitchFamily="2" charset="0"/>
              <a:ea typeface="+mn-ea"/>
              <a:cs typeface="+mn-cs"/>
            </a:endParaRP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49C0820F-E23C-0B1A-7862-72BB5E056D5F}"/>
              </a:ext>
            </a:extLst>
          </p:cNvPr>
          <p:cNvSpPr/>
          <p:nvPr/>
        </p:nvSpPr>
        <p:spPr>
          <a:xfrm>
            <a:off x="-217717" y="2633475"/>
            <a:ext cx="2902474" cy="1522516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all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  <a:t>offices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1B99A1"/>
              </a:solidFill>
              <a:effectLst/>
              <a:uLnTx/>
              <a:uFillTx/>
              <a:latin typeface="GT Walsheim Pro" panose="00000500000000000000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8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0" b="0" i="0" u="none" strike="noStrike" kern="1200" cap="none" spc="0" normalizeH="0" baseline="0" noProof="0" dirty="0">
                <a:ln>
                  <a:noFill/>
                </a:ln>
                <a:solidFill>
                  <a:srgbClr val="4797A8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  <a:t>66</a:t>
            </a:r>
          </a:p>
        </p:txBody>
      </p:sp>
      <p:sp>
        <p:nvSpPr>
          <p:cNvPr id="2" name="Rektangel 11">
            <a:extLst>
              <a:ext uri="{FF2B5EF4-FFF2-40B4-BE49-F238E27FC236}">
                <a16:creationId xmlns:a16="http://schemas.microsoft.com/office/drawing/2014/main" id="{93BB376C-CC4E-E7AF-A1FE-62DFFA3FD3F2}"/>
              </a:ext>
            </a:extLst>
          </p:cNvPr>
          <p:cNvSpPr/>
          <p:nvPr/>
        </p:nvSpPr>
        <p:spPr>
          <a:xfrm>
            <a:off x="6462837" y="1585522"/>
            <a:ext cx="2902474" cy="1522516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0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Knockout HTF48-Featherweight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59F94DA-2308-D9FD-555D-7C03A3BE6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solidFill>
                  <a:schemeClr val="bg1"/>
                </a:solidFill>
              </a:rPr>
              <a:t>Bunker holding group in numbers</a:t>
            </a:r>
          </a:p>
        </p:txBody>
      </p:sp>
      <p:sp>
        <p:nvSpPr>
          <p:cNvPr id="7" name="Rektangel 17">
            <a:extLst>
              <a:ext uri="{FF2B5EF4-FFF2-40B4-BE49-F238E27FC236}">
                <a16:creationId xmlns:a16="http://schemas.microsoft.com/office/drawing/2014/main" id="{2F5CDC5F-98FD-BA57-DAA9-5DBDDAFE6559}"/>
              </a:ext>
            </a:extLst>
          </p:cNvPr>
          <p:cNvSpPr/>
          <p:nvPr/>
        </p:nvSpPr>
        <p:spPr>
          <a:xfrm>
            <a:off x="1866000" y="4273662"/>
            <a:ext cx="1691168" cy="127964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da-DK" sz="1400" b="0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</a:br>
            <a:r>
              <a:rPr kumimoji="0" lang="da-DK" sz="11600" b="0" i="0" u="none" strike="noStrike" kern="1200" cap="none" spc="0" normalizeH="0" baseline="0" noProof="0" dirty="0">
                <a:ln>
                  <a:noFill/>
                </a:ln>
                <a:solidFill>
                  <a:srgbClr val="001A36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  <a:t>34</a:t>
            </a:r>
          </a:p>
        </p:txBody>
      </p:sp>
      <p:sp>
        <p:nvSpPr>
          <p:cNvPr id="8" name="Rektangel 5">
            <a:extLst>
              <a:ext uri="{FF2B5EF4-FFF2-40B4-BE49-F238E27FC236}">
                <a16:creationId xmlns:a16="http://schemas.microsoft.com/office/drawing/2014/main" id="{7D18E1EF-92AE-23C6-8578-0A95A6DA2F1D}"/>
              </a:ext>
            </a:extLst>
          </p:cNvPr>
          <p:cNvSpPr/>
          <p:nvPr/>
        </p:nvSpPr>
        <p:spPr>
          <a:xfrm>
            <a:off x="9266877" y="2567477"/>
            <a:ext cx="1694374" cy="179260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da-DK" sz="1400" b="0" i="0" u="none" strike="noStrike" kern="1200" cap="all" spc="0" normalizeH="0" baseline="0" noProof="0" dirty="0">
                <a:ln>
                  <a:noFill/>
                </a:ln>
                <a:solidFill>
                  <a:srgbClr val="1B99A1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</a:br>
            <a:br>
              <a:rPr kumimoji="0" lang="da-DK" sz="1400" b="0" i="0" u="none" strike="noStrike" kern="1200" cap="all" spc="0" normalizeH="0" baseline="0" noProof="0" dirty="0">
                <a:ln>
                  <a:noFill/>
                </a:ln>
                <a:solidFill>
                  <a:srgbClr val="1B99A1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</a:br>
            <a:r>
              <a:rPr kumimoji="0" lang="da-DK" sz="11600" b="0" i="0" u="none" strike="noStrike" kern="1200" cap="none" spc="0" normalizeH="0" baseline="0" noProof="0" dirty="0">
                <a:ln>
                  <a:noFill/>
                </a:ln>
                <a:solidFill>
                  <a:srgbClr val="001A36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rPr>
              <a:t>53</a:t>
            </a:r>
          </a:p>
        </p:txBody>
      </p:sp>
    </p:spTree>
    <p:extLst>
      <p:ext uri="{BB962C8B-B14F-4D97-AF65-F5344CB8AC3E}">
        <p14:creationId xmlns:p14="http://schemas.microsoft.com/office/powerpoint/2010/main" val="1894955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A69E71-EA85-8C85-D6E3-59DEF60469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A69E71-EA85-8C85-D6E3-59DEF60469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81D6B7A-B1A8-732B-A5FD-077C42B5E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U ETS: vessel scop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E0207EF-D30C-252B-3DE1-B884B43DB9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BC3415-6A21-2E49-A058-D443F991EEAB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1E3B">
                    <a:tint val="75000"/>
                  </a:srgbClr>
                </a:solidFill>
                <a:effectLst/>
                <a:uLnTx/>
                <a:uFillTx/>
                <a:latin typeface="GT Walsheim Pro Light" pitchFamily="2" charset="77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1E3B">
                  <a:tint val="75000"/>
                </a:srgbClr>
              </a:solidFill>
              <a:effectLst/>
              <a:uLnTx/>
              <a:uFillTx/>
              <a:latin typeface="GT Walsheim Pro Light" pitchFamily="2" charset="77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68E4B25-AD40-B949-CB2D-BD6BF715BCDA}"/>
              </a:ext>
            </a:extLst>
          </p:cNvPr>
          <p:cNvSpPr txBox="1"/>
          <p:nvPr/>
        </p:nvSpPr>
        <p:spPr>
          <a:xfrm>
            <a:off x="515937" y="1591614"/>
            <a:ext cx="11160125" cy="693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Calibri" panose="020F0502020204030204" pitchFamily="34" charset="0"/>
                <a:cs typeface="Arial" panose="020B0604020202020204" pitchFamily="34" charset="0"/>
              </a:rPr>
              <a:t>EU ETS initially covers cargo and passenger vessels sized 5000GT+, and is phased in during the first 3 years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Calibri" panose="020F0502020204030204" pitchFamily="34" charset="0"/>
                <a:cs typeface="Arial" panose="020B0604020202020204" pitchFamily="34" charset="0"/>
              </a:rPr>
              <a:t>Shipping companies are already required to report emissions annually under the EU MRV regulation. This data is used to determine the allowances they need to surrender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1E3B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732521C-5854-DD39-1291-38CA868D5AB1}"/>
              </a:ext>
            </a:extLst>
          </p:cNvPr>
          <p:cNvSpPr txBox="1">
            <a:spLocks/>
          </p:cNvSpPr>
          <p:nvPr/>
        </p:nvSpPr>
        <p:spPr>
          <a:xfrm>
            <a:off x="2734459" y="6426111"/>
            <a:ext cx="4349726" cy="276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" panose="00000500000000000000" pitchFamily="50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" panose="00000500000000000000" pitchFamily="50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" panose="00000500000000000000" pitchFamily="50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" panose="00000500000000000000" pitchFamily="50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" panose="00000500000000000000" pitchFamily="50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 panose="00000500000000000000" pitchFamily="50" charset="0"/>
                <a:ea typeface="+mn-ea"/>
                <a:cs typeface="Arial" panose="020B0604020202020204" pitchFamily="34" charset="0"/>
              </a:rPr>
              <a:t>1) To be discussed in 2026 2) to be decided in EU review before 2028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9335FFE-3CBA-FE96-EB2E-BDE09B8D6C5A}"/>
              </a:ext>
            </a:extLst>
          </p:cNvPr>
          <p:cNvGraphicFramePr>
            <a:graphicFrameLocks noGrp="1"/>
          </p:cNvGraphicFramePr>
          <p:nvPr/>
        </p:nvGraphicFramePr>
        <p:xfrm>
          <a:off x="515937" y="2837853"/>
          <a:ext cx="11160129" cy="32962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23197">
                  <a:extLst>
                    <a:ext uri="{9D8B030D-6E8A-4147-A177-3AD203B41FA5}">
                      <a16:colId xmlns:a16="http://schemas.microsoft.com/office/drawing/2014/main" val="670071503"/>
                    </a:ext>
                  </a:extLst>
                </a:gridCol>
                <a:gridCol w="807437">
                  <a:extLst>
                    <a:ext uri="{9D8B030D-6E8A-4147-A177-3AD203B41FA5}">
                      <a16:colId xmlns:a16="http://schemas.microsoft.com/office/drawing/2014/main" val="3882520353"/>
                    </a:ext>
                  </a:extLst>
                </a:gridCol>
                <a:gridCol w="1145441">
                  <a:extLst>
                    <a:ext uri="{9D8B030D-6E8A-4147-A177-3AD203B41FA5}">
                      <a16:colId xmlns:a16="http://schemas.microsoft.com/office/drawing/2014/main" val="1521745312"/>
                    </a:ext>
                  </a:extLst>
                </a:gridCol>
                <a:gridCol w="1195521">
                  <a:extLst>
                    <a:ext uri="{9D8B030D-6E8A-4147-A177-3AD203B41FA5}">
                      <a16:colId xmlns:a16="http://schemas.microsoft.com/office/drawing/2014/main" val="2729135152"/>
                    </a:ext>
                  </a:extLst>
                </a:gridCol>
                <a:gridCol w="1195521">
                  <a:extLst>
                    <a:ext uri="{9D8B030D-6E8A-4147-A177-3AD203B41FA5}">
                      <a16:colId xmlns:a16="http://schemas.microsoft.com/office/drawing/2014/main" val="966913724"/>
                    </a:ext>
                  </a:extLst>
                </a:gridCol>
                <a:gridCol w="1195521">
                  <a:extLst>
                    <a:ext uri="{9D8B030D-6E8A-4147-A177-3AD203B41FA5}">
                      <a16:colId xmlns:a16="http://schemas.microsoft.com/office/drawing/2014/main" val="1305976256"/>
                    </a:ext>
                  </a:extLst>
                </a:gridCol>
                <a:gridCol w="1195521">
                  <a:extLst>
                    <a:ext uri="{9D8B030D-6E8A-4147-A177-3AD203B41FA5}">
                      <a16:colId xmlns:a16="http://schemas.microsoft.com/office/drawing/2014/main" val="2441792987"/>
                    </a:ext>
                  </a:extLst>
                </a:gridCol>
                <a:gridCol w="1195521">
                  <a:extLst>
                    <a:ext uri="{9D8B030D-6E8A-4147-A177-3AD203B41FA5}">
                      <a16:colId xmlns:a16="http://schemas.microsoft.com/office/drawing/2014/main" val="108002567"/>
                    </a:ext>
                  </a:extLst>
                </a:gridCol>
                <a:gridCol w="1906449">
                  <a:extLst>
                    <a:ext uri="{9D8B030D-6E8A-4147-A177-3AD203B41FA5}">
                      <a16:colId xmlns:a16="http://schemas.microsoft.com/office/drawing/2014/main" val="2634569581"/>
                    </a:ext>
                  </a:extLst>
                </a:gridCol>
              </a:tblGrid>
              <a:tr h="303964"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05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41" marR="7041" marT="7041" marB="0" anchor="b">
                    <a:solidFill>
                      <a:srgbClr val="234B5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OMPLIANCE SCHEM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Neue montrael"/>
                      </a:endParaRPr>
                    </a:p>
                  </a:txBody>
                  <a:tcPr marL="7041" marR="7041" marT="7041" marB="0" anchor="ctr">
                    <a:solidFill>
                      <a:srgbClr val="234B5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3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Neue montrael"/>
                      </a:endParaRPr>
                    </a:p>
                  </a:txBody>
                  <a:tcPr marL="7041" marR="7041" marT="7041" marB="0" anchor="ctr">
                    <a:solidFill>
                      <a:srgbClr val="234B5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4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Neue montrael"/>
                      </a:endParaRPr>
                    </a:p>
                  </a:txBody>
                  <a:tcPr marL="7041" marR="7041" marT="7041" marB="0" anchor="ctr">
                    <a:solidFill>
                      <a:srgbClr val="234B5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5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Neue montrael"/>
                      </a:endParaRPr>
                    </a:p>
                  </a:txBody>
                  <a:tcPr marL="7041" marR="7041" marT="7041" marB="0" anchor="ctr">
                    <a:solidFill>
                      <a:srgbClr val="234B5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6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Neue montrael"/>
                      </a:endParaRPr>
                    </a:p>
                  </a:txBody>
                  <a:tcPr marL="7041" marR="7041" marT="7041" marB="0" anchor="ctr">
                    <a:solidFill>
                      <a:srgbClr val="234B5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7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Neue montrael"/>
                      </a:endParaRPr>
                    </a:p>
                  </a:txBody>
                  <a:tcPr marL="7041" marR="7041" marT="7041" marB="0" anchor="ctr">
                    <a:solidFill>
                      <a:srgbClr val="234B5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8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Neue montrael"/>
                      </a:endParaRPr>
                    </a:p>
                  </a:txBody>
                  <a:tcPr marL="7041" marR="7041" marT="7041" marB="0" anchor="ctr">
                    <a:solidFill>
                      <a:srgbClr val="234B5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9 and onwards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Neue montrael"/>
                      </a:endParaRPr>
                    </a:p>
                  </a:txBody>
                  <a:tcPr marL="7041" marR="7041" marT="7041" marB="0" anchor="ctr">
                    <a:solidFill>
                      <a:srgbClr val="234B5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066019"/>
                  </a:ext>
                </a:extLst>
              </a:tr>
              <a:tr h="29834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YPE OF VESSEL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Neue montrael"/>
                      </a:endParaRPr>
                    </a:p>
                  </a:txBody>
                  <a:tcPr marL="7041" marR="7041" marT="704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i="1" u="none" strike="noStrike" dirty="0">
                          <a:effectLst/>
                        </a:rPr>
                        <a:t>ETS</a:t>
                      </a:r>
                      <a:endParaRPr lang="en-US" sz="1050" b="0" i="1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L="7041" marR="7041" marT="7041" marB="0" anchor="ctr">
                    <a:solidFill>
                      <a:srgbClr val="CBC0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N/A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Cargo &amp; Passenger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Cargo, Passengers &amp; Offshore Vessel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0752749"/>
                  </a:ext>
                </a:extLst>
              </a:tr>
              <a:tr h="2983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i="1" u="none" strike="noStrike" dirty="0">
                          <a:effectLst/>
                        </a:rPr>
                        <a:t>MRV</a:t>
                      </a:r>
                      <a:endParaRPr lang="en-US" sz="1050" b="0" i="1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L="7041" marR="7041" marT="704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0B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Cargo &amp; Passenger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Cargo, Passengers &amp; Offshore Vessel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3161472"/>
                  </a:ext>
                </a:extLst>
              </a:tr>
              <a:tr h="29834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IZE OF VESSEL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Neue montrael"/>
                      </a:endParaRPr>
                    </a:p>
                  </a:txBody>
                  <a:tcPr marL="7041"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i="1" u="none" strike="noStrike" dirty="0">
                          <a:effectLst/>
                        </a:rPr>
                        <a:t>ETS</a:t>
                      </a:r>
                      <a:endParaRPr lang="en-US" sz="1050" b="0" i="1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L="7041"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C0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N/A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&gt;5000G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&gt;400GT and Offshore 1)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sz="1050" u="none" strike="noStrike" dirty="0">
                          <a:effectLst/>
                        </a:rPr>
                        <a:t>&gt;400GT and Offshore 1)</a:t>
                      </a:r>
                      <a:endParaRPr lang="en-US" dirty="0"/>
                    </a:p>
                  </a:txBody>
                  <a:tcPr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4761217"/>
                  </a:ext>
                </a:extLst>
              </a:tr>
              <a:tr h="2983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i="1" u="none" strike="noStrike">
                          <a:effectLst/>
                        </a:rPr>
                        <a:t>MRV</a:t>
                      </a:r>
                      <a:endParaRPr lang="en-US" sz="1050" b="0" i="1" u="none" strike="noStrike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L="7041" marR="7041" marT="704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0B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&gt;5000G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&gt;400GT (General Cargo and Offshore vessels)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396780"/>
                  </a:ext>
                </a:extLst>
              </a:tr>
              <a:tr h="29834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GEOGRFICAL SCOP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Neue montrael"/>
                      </a:endParaRPr>
                    </a:p>
                  </a:txBody>
                  <a:tcPr marL="7041"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i="1" u="none" strike="noStrike" dirty="0">
                          <a:effectLst/>
                        </a:rPr>
                        <a:t>ETS</a:t>
                      </a:r>
                      <a:endParaRPr lang="en-US" sz="1050" b="0" i="1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L="7041"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C0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</a:rPr>
                        <a:t>N/A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l" fontAlgn="ctr"/>
                      <a:r>
                        <a:rPr lang="sv-SE" sz="1050" u="none" strike="noStrike" dirty="0">
                          <a:effectLst/>
                        </a:rPr>
                        <a:t>100% intra EU/EEA, 50% in&amp;out EU/EEA</a:t>
                      </a:r>
                      <a:endParaRPr lang="sv-SE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9685328"/>
                  </a:ext>
                </a:extLst>
              </a:tr>
              <a:tr h="3071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i="1" u="none" strike="noStrike" dirty="0">
                          <a:effectLst/>
                        </a:rPr>
                        <a:t>MRV</a:t>
                      </a:r>
                      <a:endParaRPr lang="en-US" sz="1050" b="0" i="1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L="7041" marR="7041" marT="704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0BF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l" fontAlgn="ctr"/>
                      <a:r>
                        <a:rPr lang="sv-SE" sz="1050" u="none" strike="noStrike" dirty="0">
                          <a:effectLst/>
                        </a:rPr>
                        <a:t>100% intra EU/EEA, 50% in&amp;out EU/EEA</a:t>
                      </a:r>
                      <a:endParaRPr lang="sv-SE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u="none" strike="noStrike" dirty="0">
                          <a:effectLst/>
                        </a:rPr>
                        <a:t>100% intra / </a:t>
                      </a:r>
                      <a:r>
                        <a:rPr lang="en-US" sz="1050" u="none" strike="noStrike" dirty="0" err="1">
                          <a:effectLst/>
                        </a:rPr>
                        <a:t>in&amp;out</a:t>
                      </a:r>
                      <a:r>
                        <a:rPr lang="en-US" sz="1050" u="none" strike="noStrike" dirty="0">
                          <a:effectLst/>
                        </a:rPr>
                        <a:t> EU/EEA 2)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L="7041" marR="7041" marT="704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2525081"/>
                  </a:ext>
                </a:extLst>
              </a:tr>
              <a:tr h="29834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HASE-IN TIMELIN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Neue montrael"/>
                      </a:endParaRPr>
                    </a:p>
                  </a:txBody>
                  <a:tcPr marL="7041"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98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i="1" u="none" strike="noStrike" dirty="0">
                          <a:effectLst/>
                        </a:rPr>
                        <a:t>ETS</a:t>
                      </a:r>
                      <a:endParaRPr lang="en-US" sz="1050" b="0" i="1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L="7041"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C0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N/A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40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70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100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3146338"/>
                  </a:ext>
                </a:extLst>
              </a:tr>
              <a:tr h="2983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i="1" u="none" strike="noStrike" dirty="0">
                          <a:effectLst/>
                        </a:rPr>
                        <a:t>MRV</a:t>
                      </a:r>
                      <a:endParaRPr lang="en-US" sz="1050" b="0" i="1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L="7041" marR="7041" marT="704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0BF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100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0020418"/>
                  </a:ext>
                </a:extLst>
              </a:tr>
              <a:tr h="29834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GHG SCOP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Neue montrael"/>
                      </a:endParaRPr>
                    </a:p>
                  </a:txBody>
                  <a:tcPr marL="7041"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5986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i="1" u="none" strike="noStrike" dirty="0">
                          <a:effectLst/>
                        </a:rPr>
                        <a:t>ETS</a:t>
                      </a:r>
                      <a:endParaRPr lang="en-US" sz="1050" b="0" i="1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L="7041"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C0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>
                          <a:effectLst/>
                        </a:rPr>
                        <a:t>N/A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CO2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r>
                        <a:rPr lang="pt-BR" sz="1050" u="none" strike="noStrike" dirty="0">
                          <a:effectLst/>
                        </a:rPr>
                        <a:t>CO2, Methane(CH4) &amp; Nitrous Oxide (N2O)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L="7041"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l"/>
                      <a:r>
                        <a:rPr lang="pt-BR" sz="1050" u="none" strike="noStrike" dirty="0">
                          <a:effectLst/>
                        </a:rPr>
                        <a:t>CO2, Methane(CH4) &amp; Nitrous Oxide (N2O)</a:t>
                      </a:r>
                      <a:endParaRPr lang="en-US" dirty="0"/>
                    </a:p>
                  </a:txBody>
                  <a:tcPr marR="7041" marT="7041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3576603"/>
                  </a:ext>
                </a:extLst>
              </a:tr>
              <a:tr h="29834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i="1" u="none" strike="noStrike" dirty="0">
                          <a:effectLst/>
                        </a:rPr>
                        <a:t>MRV</a:t>
                      </a:r>
                      <a:endParaRPr lang="en-US" sz="1050" b="0" i="1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L="7041" marR="7041" marT="7041" marB="0" anchor="ctr">
                    <a:solidFill>
                      <a:srgbClr val="CBC0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50" u="none" strike="noStrike" dirty="0">
                          <a:effectLst/>
                        </a:rPr>
                        <a:t>CO2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l" fontAlgn="ctr"/>
                      <a:r>
                        <a:rPr lang="pt-BR" sz="1050" u="none" strike="noStrike" dirty="0">
                          <a:effectLst/>
                        </a:rPr>
                        <a:t>CO2, Methane (CH4) &amp; Nitrous Oxide (N2O)</a:t>
                      </a:r>
                      <a:endParaRPr lang="pt-BR" sz="1050" b="0" i="0" u="none" strike="noStrike" dirty="0">
                        <a:solidFill>
                          <a:srgbClr val="000000"/>
                        </a:solidFill>
                        <a:effectLst/>
                        <a:latin typeface="Neue montreal" panose="020B0604020202020204" charset="0"/>
                      </a:endParaRPr>
                    </a:p>
                  </a:txBody>
                  <a:tcPr marR="7041" marT="7041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02526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36832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uild="p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B7FD2CE-648B-89FB-EE59-086CBE6F65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572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7FD2CE-648B-89FB-EE59-086CBE6F6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4736FA0-A6CF-9A58-5B1F-A541D416BA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3000">
                <a:latin typeface="Arial (Headings)"/>
                <a:cs typeface="Arial" panose="020B0604020202020204" pitchFamily="34" charset="0"/>
              </a:rPr>
              <a:t>The hurricane of regulations </a:t>
            </a:r>
            <a:endParaRPr lang="en-US">
              <a:latin typeface="Arial (Headings)"/>
            </a:endParaRP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E0207EF-D30C-252B-3DE1-B884B43DB9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BC3415-6A21-2E49-A058-D443F991EEAB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1E3B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srgbClr val="001E3B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A9770FE6-29B0-B416-69C2-8F65926F7D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48911" y="3883165"/>
            <a:ext cx="791396" cy="791396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A3C34928-BF88-FCAD-0914-98169EA65F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83314" y="3883165"/>
            <a:ext cx="791396" cy="791396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EE680D7F-C186-B04F-4BC0-491E9544D5F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23775" y="4439745"/>
            <a:ext cx="791397" cy="791397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266F7B38-154E-29AB-4051-041001B26A5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175870" y="4486792"/>
            <a:ext cx="744350" cy="744350"/>
          </a:xfrm>
          <a:prstGeom prst="rect">
            <a:avLst/>
          </a:prstGeom>
        </p:spPr>
      </p:pic>
      <p:sp>
        <p:nvSpPr>
          <p:cNvPr id="77" name="Rectangle 76">
            <a:extLst>
              <a:ext uri="{FF2B5EF4-FFF2-40B4-BE49-F238E27FC236}">
                <a16:creationId xmlns:a16="http://schemas.microsoft.com/office/drawing/2014/main" id="{0C904D18-0284-E0D3-1B71-FA20FF342783}"/>
              </a:ext>
            </a:extLst>
          </p:cNvPr>
          <p:cNvSpPr/>
          <p:nvPr/>
        </p:nvSpPr>
        <p:spPr>
          <a:xfrm>
            <a:off x="538913" y="1752844"/>
            <a:ext cx="3820184" cy="3988737"/>
          </a:xfrm>
          <a:prstGeom prst="rect">
            <a:avLst/>
          </a:prstGeom>
          <a:noFill/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GT Walsheim Pro" panose="00000500000000000000" pitchFamily="2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774D93E-081B-5456-840A-77C10CE208BF}"/>
              </a:ext>
            </a:extLst>
          </p:cNvPr>
          <p:cNvSpPr txBox="1"/>
          <p:nvPr/>
        </p:nvSpPr>
        <p:spPr>
          <a:xfrm>
            <a:off x="859056" y="1636105"/>
            <a:ext cx="3179898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GT Walsheim Pro" panose="00000500000000000000" pitchFamily="2" charset="0"/>
              </a:rPr>
              <a:t>Recently implemented framework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7AF79FA-F143-7EF8-6555-EC4E5A3E4567}"/>
              </a:ext>
            </a:extLst>
          </p:cNvPr>
          <p:cNvSpPr/>
          <p:nvPr/>
        </p:nvSpPr>
        <p:spPr>
          <a:xfrm>
            <a:off x="7818947" y="1752844"/>
            <a:ext cx="3890239" cy="3988737"/>
          </a:xfrm>
          <a:prstGeom prst="rect">
            <a:avLst/>
          </a:prstGeom>
          <a:noFill/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GT Walsheim Pro" panose="00000500000000000000" pitchFamily="2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82D1495B-8D5D-EEC0-6DD7-0356E1538057}"/>
              </a:ext>
            </a:extLst>
          </p:cNvPr>
          <p:cNvSpPr txBox="1"/>
          <p:nvPr/>
        </p:nvSpPr>
        <p:spPr>
          <a:xfrm>
            <a:off x="9081249" y="1645122"/>
            <a:ext cx="1365635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GT Walsheim Pro" panose="00000500000000000000" pitchFamily="2" charset="0"/>
              </a:rPr>
              <a:t>Up-coming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F9C74389-8223-7CD6-63F7-B7EAF0F25A2C}"/>
              </a:ext>
            </a:extLst>
          </p:cNvPr>
          <p:cNvSpPr/>
          <p:nvPr/>
        </p:nvSpPr>
        <p:spPr>
          <a:xfrm>
            <a:off x="5054884" y="1752844"/>
            <a:ext cx="1999427" cy="3988737"/>
          </a:xfrm>
          <a:prstGeom prst="rect">
            <a:avLst/>
          </a:prstGeom>
          <a:noFill/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T Walsheim Pro" panose="00000500000000000000" pitchFamily="2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C802BE4B-9384-445F-007A-042DE97DFAC9}"/>
              </a:ext>
            </a:extLst>
          </p:cNvPr>
          <p:cNvSpPr txBox="1"/>
          <p:nvPr/>
        </p:nvSpPr>
        <p:spPr>
          <a:xfrm>
            <a:off x="5252979" y="1645122"/>
            <a:ext cx="1603237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GT Walsheim Pro" panose="00000500000000000000" pitchFamily="2" charset="0"/>
              </a:rPr>
              <a:t>Fleet/</a:t>
            </a:r>
            <a:r>
              <a:rPr kumimoji="0" lang="da-DK" sz="1500" b="1" i="0" u="none" strike="noStrike" kern="1200" cap="none" spc="0" normalizeH="0" baseline="0" noProof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GT Walsheim Pro" panose="00000500000000000000" pitchFamily="2" charset="0"/>
              </a:rPr>
              <a:t>vessel</a:t>
            </a:r>
            <a:r>
              <a:rPr kumimoji="0" lang="da-DK" sz="15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GT Walsheim Pro" panose="00000500000000000000" pitchFamily="2" charset="0"/>
              </a:rPr>
              <a:t> emissions</a:t>
            </a:r>
          </a:p>
        </p:txBody>
      </p:sp>
      <p:pic>
        <p:nvPicPr>
          <p:cNvPr id="83" name="Graphic 82" descr="Thought bubble with solid fill">
            <a:extLst>
              <a:ext uri="{FF2B5EF4-FFF2-40B4-BE49-F238E27FC236}">
                <a16:creationId xmlns:a16="http://schemas.microsoft.com/office/drawing/2014/main" id="{B4FD40C1-9B74-BF5F-70D6-CD04155F838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309787" y="2164606"/>
            <a:ext cx="786213" cy="786213"/>
          </a:xfrm>
          <a:prstGeom prst="rect">
            <a:avLst/>
          </a:prstGeom>
        </p:spPr>
      </p:pic>
      <p:pic>
        <p:nvPicPr>
          <p:cNvPr id="84" name="Graphic 83" descr="Thought bubble with solid fill">
            <a:extLst>
              <a:ext uri="{FF2B5EF4-FFF2-40B4-BE49-F238E27FC236}">
                <a16:creationId xmlns:a16="http://schemas.microsoft.com/office/drawing/2014/main" id="{1751B37F-24C8-95B2-D50E-A35BFEF6144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080437" y="2442896"/>
            <a:ext cx="786213" cy="786213"/>
          </a:xfrm>
          <a:prstGeom prst="rect">
            <a:avLst/>
          </a:prstGeom>
        </p:spPr>
      </p:pic>
      <p:pic>
        <p:nvPicPr>
          <p:cNvPr id="85" name="Graphic 84" descr="Thought bubble with solid fill">
            <a:extLst>
              <a:ext uri="{FF2B5EF4-FFF2-40B4-BE49-F238E27FC236}">
                <a16:creationId xmlns:a16="http://schemas.microsoft.com/office/drawing/2014/main" id="{593550E7-E4AD-5AE7-F691-79EB931D5FD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06231" y="2909068"/>
            <a:ext cx="786213" cy="786213"/>
          </a:xfrm>
          <a:prstGeom prst="rect">
            <a:avLst/>
          </a:prstGeom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A3DA8129-3461-267C-AC60-B785BC8D3E43}"/>
              </a:ext>
            </a:extLst>
          </p:cNvPr>
          <p:cNvSpPr txBox="1"/>
          <p:nvPr/>
        </p:nvSpPr>
        <p:spPr>
          <a:xfrm>
            <a:off x="5578867" y="2370978"/>
            <a:ext cx="372175" cy="187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CO</a:t>
            </a:r>
            <a:r>
              <a:rPr kumimoji="0" lang="da-DK" sz="1200" b="0" i="0" u="none" strike="noStrike" kern="1200" cap="none" spc="0" normalizeH="0" baseline="-25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2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BF269A49-06B7-4533-14D5-C9FBA821D0F0}"/>
              </a:ext>
            </a:extLst>
          </p:cNvPr>
          <p:cNvSpPr txBox="1"/>
          <p:nvPr/>
        </p:nvSpPr>
        <p:spPr>
          <a:xfrm>
            <a:off x="5649074" y="3139828"/>
            <a:ext cx="372175" cy="187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CO</a:t>
            </a:r>
            <a:r>
              <a:rPr kumimoji="0" lang="da-DK" sz="1200" b="0" i="0" u="none" strike="noStrike" kern="1200" cap="none" spc="0" normalizeH="0" baseline="-25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2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CF0E970-D4DD-569A-8A30-4312C47F4D90}"/>
              </a:ext>
            </a:extLst>
          </p:cNvPr>
          <p:cNvSpPr txBox="1"/>
          <p:nvPr/>
        </p:nvSpPr>
        <p:spPr>
          <a:xfrm>
            <a:off x="6325448" y="2665506"/>
            <a:ext cx="372175" cy="18788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CO</a:t>
            </a:r>
            <a:r>
              <a:rPr kumimoji="0" lang="da-DK" sz="1200" b="0" i="0" u="none" strike="noStrike" kern="1200" cap="none" spc="0" normalizeH="0" baseline="-25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2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F9F91B21-DDCE-D3A0-C4C0-D68F98752C43}"/>
              </a:ext>
            </a:extLst>
          </p:cNvPr>
          <p:cNvSpPr>
            <a:spLocks/>
          </p:cNvSpPr>
          <p:nvPr/>
        </p:nvSpPr>
        <p:spPr>
          <a:xfrm>
            <a:off x="4539771" y="3411911"/>
            <a:ext cx="324000" cy="324000"/>
          </a:xfrm>
          <a:prstGeom prst="ellipse">
            <a:avLst/>
          </a:prstGeom>
          <a:solidFill>
            <a:srgbClr val="00253E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Walsheim Pro" panose="00000500000000000000" pitchFamily="2" charset="0"/>
            </a:endParaRPr>
          </a:p>
        </p:txBody>
      </p:sp>
      <p:sp>
        <p:nvSpPr>
          <p:cNvPr id="90" name="Half Frame 89">
            <a:extLst>
              <a:ext uri="{FF2B5EF4-FFF2-40B4-BE49-F238E27FC236}">
                <a16:creationId xmlns:a16="http://schemas.microsoft.com/office/drawing/2014/main" id="{BE13BF4B-93BF-395D-D0D6-A542C013AEC8}"/>
              </a:ext>
            </a:extLst>
          </p:cNvPr>
          <p:cNvSpPr/>
          <p:nvPr/>
        </p:nvSpPr>
        <p:spPr>
          <a:xfrm rot="8100000">
            <a:off x="4634330" y="3503223"/>
            <a:ext cx="96782" cy="111718"/>
          </a:xfrm>
          <a:prstGeom prst="halfFrame">
            <a:avLst>
              <a:gd name="adj1" fmla="val 4890"/>
              <a:gd name="adj2" fmla="val 6213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>
            <a:defPPr>
              <a:defRPr lang="en-US"/>
            </a:defPPr>
            <a:lvl1pPr marL="0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GT Walsheim Pro" panose="00000500000000000000" pitchFamily="2" charset="0"/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DE2A5D70-0517-49A5-A94D-59E152E1AA02}"/>
              </a:ext>
            </a:extLst>
          </p:cNvPr>
          <p:cNvSpPr>
            <a:spLocks/>
          </p:cNvSpPr>
          <p:nvPr/>
        </p:nvSpPr>
        <p:spPr>
          <a:xfrm rot="10800000">
            <a:off x="7304519" y="3411911"/>
            <a:ext cx="324000" cy="324000"/>
          </a:xfrm>
          <a:prstGeom prst="ellipse">
            <a:avLst/>
          </a:prstGeom>
          <a:solidFill>
            <a:srgbClr val="00253E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Walsheim Pro" panose="00000500000000000000" pitchFamily="2" charset="0"/>
            </a:endParaRPr>
          </a:p>
        </p:txBody>
      </p:sp>
      <p:sp>
        <p:nvSpPr>
          <p:cNvPr id="92" name="Half Frame 91">
            <a:extLst>
              <a:ext uri="{FF2B5EF4-FFF2-40B4-BE49-F238E27FC236}">
                <a16:creationId xmlns:a16="http://schemas.microsoft.com/office/drawing/2014/main" id="{F58D5521-41D5-6956-AD73-574184F9B08B}"/>
              </a:ext>
            </a:extLst>
          </p:cNvPr>
          <p:cNvSpPr/>
          <p:nvPr/>
        </p:nvSpPr>
        <p:spPr>
          <a:xfrm rot="18900000">
            <a:off x="7440174" y="3523771"/>
            <a:ext cx="96782" cy="111718"/>
          </a:xfrm>
          <a:prstGeom prst="halfFrame">
            <a:avLst>
              <a:gd name="adj1" fmla="val 4890"/>
              <a:gd name="adj2" fmla="val 6213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>
            <a:defPPr>
              <a:defRPr lang="en-US"/>
            </a:defPPr>
            <a:lvl1pPr marL="0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GT Walsheim Pro" panose="00000500000000000000" pitchFamily="2" charset="0"/>
            </a:endParaRPr>
          </a:p>
        </p:txBody>
      </p:sp>
      <p:sp>
        <p:nvSpPr>
          <p:cNvPr id="93" name="Rectangle: Rounded Corners 92">
            <a:extLst>
              <a:ext uri="{FF2B5EF4-FFF2-40B4-BE49-F238E27FC236}">
                <a16:creationId xmlns:a16="http://schemas.microsoft.com/office/drawing/2014/main" id="{47043658-50F3-56CE-0216-074EF4BAE04C}"/>
              </a:ext>
            </a:extLst>
          </p:cNvPr>
          <p:cNvSpPr/>
          <p:nvPr/>
        </p:nvSpPr>
        <p:spPr>
          <a:xfrm>
            <a:off x="758502" y="4771428"/>
            <a:ext cx="1151383" cy="6893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SEEMP III</a:t>
            </a:r>
          </a:p>
        </p:txBody>
      </p:sp>
      <p:sp>
        <p:nvSpPr>
          <p:cNvPr id="94" name="Rectangle: Rounded Corners 93">
            <a:extLst>
              <a:ext uri="{FF2B5EF4-FFF2-40B4-BE49-F238E27FC236}">
                <a16:creationId xmlns:a16="http://schemas.microsoft.com/office/drawing/2014/main" id="{2EAE1F31-D6D9-83B3-8CCD-00530BF87AFF}"/>
              </a:ext>
            </a:extLst>
          </p:cNvPr>
          <p:cNvSpPr/>
          <p:nvPr/>
        </p:nvSpPr>
        <p:spPr>
          <a:xfrm>
            <a:off x="756533" y="3986115"/>
            <a:ext cx="1151383" cy="6893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EEXI</a:t>
            </a:r>
          </a:p>
        </p:txBody>
      </p:sp>
      <p:sp>
        <p:nvSpPr>
          <p:cNvPr id="95" name="Rectangle: Rounded Corners 94">
            <a:extLst>
              <a:ext uri="{FF2B5EF4-FFF2-40B4-BE49-F238E27FC236}">
                <a16:creationId xmlns:a16="http://schemas.microsoft.com/office/drawing/2014/main" id="{85D5C93F-79A5-C6C4-8760-B128177BC705}"/>
              </a:ext>
            </a:extLst>
          </p:cNvPr>
          <p:cNvSpPr/>
          <p:nvPr/>
        </p:nvSpPr>
        <p:spPr>
          <a:xfrm>
            <a:off x="780589" y="3214410"/>
            <a:ext cx="1151383" cy="6893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CII</a:t>
            </a:r>
          </a:p>
        </p:txBody>
      </p:sp>
      <p:sp>
        <p:nvSpPr>
          <p:cNvPr id="96" name="Rectangle: Rounded Corners 95">
            <a:extLst>
              <a:ext uri="{FF2B5EF4-FFF2-40B4-BE49-F238E27FC236}">
                <a16:creationId xmlns:a16="http://schemas.microsoft.com/office/drawing/2014/main" id="{8398CE0E-E887-E77F-FE6F-3944475FAC37}"/>
              </a:ext>
            </a:extLst>
          </p:cNvPr>
          <p:cNvSpPr/>
          <p:nvPr/>
        </p:nvSpPr>
        <p:spPr>
          <a:xfrm>
            <a:off x="1987069" y="3217029"/>
            <a:ext cx="2254251" cy="6893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Carbon intensity indicator rating</a:t>
            </a:r>
          </a:p>
        </p:txBody>
      </p:sp>
      <p:sp>
        <p:nvSpPr>
          <p:cNvPr id="97" name="Rectangle: Rounded Corners 96">
            <a:extLst>
              <a:ext uri="{FF2B5EF4-FFF2-40B4-BE49-F238E27FC236}">
                <a16:creationId xmlns:a16="http://schemas.microsoft.com/office/drawing/2014/main" id="{4697AA74-5CFB-344D-FD8B-103D349828F1}"/>
              </a:ext>
            </a:extLst>
          </p:cNvPr>
          <p:cNvSpPr/>
          <p:nvPr/>
        </p:nvSpPr>
        <p:spPr>
          <a:xfrm>
            <a:off x="1956981" y="3993549"/>
            <a:ext cx="2254251" cy="6893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US" sz="1200">
                <a:solidFill>
                  <a:srgbClr val="FFFFFF"/>
                </a:solidFill>
                <a:latin typeface="GT Walsheim Pro" panose="00000500000000000000" pitchFamily="2" charset="0"/>
              </a:rPr>
              <a:t>Energy efficiency requirement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 for</a:t>
            </a:r>
            <a:r>
              <a:rPr lang="en-US" sz="1200">
                <a:solidFill>
                  <a:srgbClr val="FFFFFF"/>
                </a:solidFill>
                <a:latin typeface="GT Walsheim Pro" panose="00000500000000000000" pitchFamily="2" charset="0"/>
              </a:rPr>
              <a:t> existing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 ship index</a:t>
            </a:r>
            <a:endParaRPr kumimoji="0" lang="en-GB" sz="12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T Walsheim Pro" panose="00000500000000000000" pitchFamily="2" charset="0"/>
            </a:endParaRPr>
          </a:p>
        </p:txBody>
      </p:sp>
      <p:sp>
        <p:nvSpPr>
          <p:cNvPr id="98" name="Rectangle: Rounded Corners 97">
            <a:extLst>
              <a:ext uri="{FF2B5EF4-FFF2-40B4-BE49-F238E27FC236}">
                <a16:creationId xmlns:a16="http://schemas.microsoft.com/office/drawing/2014/main" id="{CA6E8042-5CE6-21E7-EF28-406C23C604EB}"/>
              </a:ext>
            </a:extLst>
          </p:cNvPr>
          <p:cNvSpPr/>
          <p:nvPr/>
        </p:nvSpPr>
        <p:spPr>
          <a:xfrm>
            <a:off x="1987069" y="4771428"/>
            <a:ext cx="2254251" cy="6893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Ship energy efficiency management</a:t>
            </a:r>
            <a:r>
              <a:rPr lang="en-GB" sz="1200">
                <a:solidFill>
                  <a:srgbClr val="FFFFFF"/>
                </a:solidFill>
                <a:latin typeface="GT Walsheim Pro" panose="00000500000000000000" pitchFamily="2" charset="0"/>
              </a:rPr>
              <a:t> plan</a:t>
            </a:r>
            <a:endParaRPr kumimoji="0" lang="en-GB" sz="120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T Walsheim Pro" panose="00000500000000000000" pitchFamily="2" charset="0"/>
            </a:endParaRPr>
          </a:p>
        </p:txBody>
      </p: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671EE10E-70B8-5AA1-C19A-5FD8535F80D2}"/>
              </a:ext>
            </a:extLst>
          </p:cNvPr>
          <p:cNvSpPr/>
          <p:nvPr/>
        </p:nvSpPr>
        <p:spPr>
          <a:xfrm>
            <a:off x="8051744" y="2438029"/>
            <a:ext cx="1151383" cy="6893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FuelEU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 Maritime</a:t>
            </a: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6A6F6319-1A80-3455-8617-7F22883D2160}"/>
              </a:ext>
            </a:extLst>
          </p:cNvPr>
          <p:cNvSpPr/>
          <p:nvPr/>
        </p:nvSpPr>
        <p:spPr>
          <a:xfrm>
            <a:off x="9280311" y="2438029"/>
            <a:ext cx="2254251" cy="6893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Operational requirement on GHG intensity</a:t>
            </a: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879FF5DB-0E07-018C-8BBB-FC0372B80557}"/>
              </a:ext>
            </a:extLst>
          </p:cNvPr>
          <p:cNvSpPr/>
          <p:nvPr/>
        </p:nvSpPr>
        <p:spPr>
          <a:xfrm>
            <a:off x="8051744" y="4102548"/>
            <a:ext cx="1151383" cy="6893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IMO 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mid-term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 measures </a:t>
            </a: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8478057F-00F2-4BFA-0D5D-91346DA4EDB6}"/>
              </a:ext>
            </a:extLst>
          </p:cNvPr>
          <p:cNvSpPr/>
          <p:nvPr/>
        </p:nvSpPr>
        <p:spPr>
          <a:xfrm>
            <a:off x="9280311" y="4102548"/>
            <a:ext cx="2254251" cy="6893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Required GHG intensity of marine fuels &amp; GHG emissions pricing mechanism (IMO to agree by 2025)</a:t>
            </a:r>
          </a:p>
        </p:txBody>
      </p:sp>
      <p:sp>
        <p:nvSpPr>
          <p:cNvPr id="103" name="Rectangle: Rounded Corners 102">
            <a:extLst>
              <a:ext uri="{FF2B5EF4-FFF2-40B4-BE49-F238E27FC236}">
                <a16:creationId xmlns:a16="http://schemas.microsoft.com/office/drawing/2014/main" id="{1947621E-6EF9-5D15-F28A-0C99AC9CB60D}"/>
              </a:ext>
            </a:extLst>
          </p:cNvPr>
          <p:cNvSpPr/>
          <p:nvPr/>
        </p:nvSpPr>
        <p:spPr>
          <a:xfrm>
            <a:off x="766706" y="2450484"/>
            <a:ext cx="1151383" cy="6893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EU ETS</a:t>
            </a:r>
          </a:p>
        </p:txBody>
      </p: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ED5B1F8E-6E2B-199A-7553-308717B65319}"/>
              </a:ext>
            </a:extLst>
          </p:cNvPr>
          <p:cNvSpPr/>
          <p:nvPr/>
        </p:nvSpPr>
        <p:spPr>
          <a:xfrm>
            <a:off x="2000078" y="2438029"/>
            <a:ext cx="2254251" cy="6893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defRPr/>
            </a:pPr>
            <a:r>
              <a:rPr lang="en-GB" sz="1200">
                <a:solidFill>
                  <a:srgbClr val="FFFFFF"/>
                </a:solidFill>
                <a:latin typeface="GT Walsheim Pro" panose="00000500000000000000" pitchFamily="2" charset="0"/>
              </a:rPr>
              <a:t>Cap</a:t>
            </a: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 and trade of</a:t>
            </a:r>
            <a:r>
              <a:rPr lang="en-GB" sz="1200">
                <a:solidFill>
                  <a:srgbClr val="FFFFFF"/>
                </a:solidFill>
                <a:latin typeface="GT Walsheim Pro" panose="00000500000000000000" pitchFamily="2" charset="0"/>
              </a:rPr>
              <a:t> emission</a:t>
            </a:r>
            <a:r>
              <a:rPr kumimoji="0" lang="en-GB" sz="120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 panose="00000500000000000000" pitchFamily="2" charset="0"/>
              </a:rPr>
              <a:t> allowances</a:t>
            </a:r>
          </a:p>
        </p:txBody>
      </p:sp>
    </p:spTree>
    <p:extLst>
      <p:ext uri="{BB962C8B-B14F-4D97-AF65-F5344CB8AC3E}">
        <p14:creationId xmlns:p14="http://schemas.microsoft.com/office/powerpoint/2010/main" val="97083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74212AA-3A04-931C-1BD9-E83596F9FB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2334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47" imgH="348" progId="TCLayout.ActiveDocument.1">
                  <p:embed/>
                </p:oleObj>
              </mc:Choice>
              <mc:Fallback>
                <p:oleObj name="think-cell Slide" r:id="rId22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4212AA-3A04-931C-1BD9-E83596F9FB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4736FA0-A6CF-9A58-5B1F-A541D416B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454563"/>
            <a:ext cx="11160125" cy="1043555"/>
          </a:xfrm>
        </p:spPr>
        <p:txBody>
          <a:bodyPr vert="horz"/>
          <a:lstStyle/>
          <a:p>
            <a:r>
              <a:rPr kumimoji="0" lang="fr-FR" sz="3000" b="1" i="0" u="none" strike="noStrike" kern="1200" cap="all" spc="-100" normalizeH="0" baseline="0" noProof="0">
                <a:ln>
                  <a:noFill/>
                </a:ln>
                <a:effectLst/>
                <a:uLnTx/>
                <a:uFillTx/>
                <a:latin typeface="Arial (Headings)"/>
                <a:cs typeface="Arial" panose="020B0604020202020204" pitchFamily="34" charset="0"/>
              </a:rPr>
              <a:t>FUEL EU MARITIME </a:t>
            </a:r>
            <a:br>
              <a:rPr kumimoji="0" lang="en-GB" b="0" i="0" u="none" strike="noStrike" kern="1200" cap="all" spc="-10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E0207EF-D30C-252B-3DE1-B884B43DB9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4</a:t>
            </a:fld>
            <a:endParaRPr lang="da-DK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C90B532-7E7E-B2CC-B7CF-C93D5B58C151}"/>
              </a:ext>
            </a:extLst>
          </p:cNvPr>
          <p:cNvSpPr txBox="1"/>
          <p:nvPr/>
        </p:nvSpPr>
        <p:spPr>
          <a:xfrm>
            <a:off x="304800" y="2076450"/>
            <a:ext cx="3609975" cy="35718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l ships above 5000 GT transporting passengers or cargo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0% of energy use into or out of EEA, 100% of energy use between and within EEA port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pliance can be banked, borrowed and pooled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ndatory 2% RFNBO* use from 2034. “Equivalent fuels with a similar or higher decarbonization potential” can be accepted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>
                <a:solidFill>
                  <a:srgbClr val="001E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alty: 2,400 EUR per </a:t>
            </a:r>
            <a:r>
              <a:rPr lang="en-US" sz="1400" err="1">
                <a:solidFill>
                  <a:srgbClr val="001E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nne</a:t>
            </a:r>
            <a:r>
              <a:rPr lang="en-US" sz="1400">
                <a:solidFill>
                  <a:srgbClr val="001E3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LSFO energy equivalent or around 58,50 EUR per GJ non-compliant energy.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1E3B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AAF1478-4D64-E312-B985-57C40C028C79}"/>
              </a:ext>
            </a:extLst>
          </p:cNvPr>
          <p:cNvGrpSpPr/>
          <p:nvPr/>
        </p:nvGrpSpPr>
        <p:grpSpPr>
          <a:xfrm>
            <a:off x="4371975" y="2127230"/>
            <a:ext cx="7577812" cy="3303608"/>
            <a:chOff x="4371975" y="2127230"/>
            <a:chExt cx="7577812" cy="3303608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1A98724-2437-0EFF-D3E0-6D7D1640410E}"/>
                </a:ext>
              </a:extLst>
            </p:cNvPr>
            <p:cNvCxnSpPr/>
            <p:nvPr>
              <p:custDataLst>
                <p:tags r:id="rId2"/>
              </p:custDataLst>
            </p:nvPr>
          </p:nvCxnSpPr>
          <p:spPr bwMode="auto">
            <a:xfrm>
              <a:off x="4859338" y="5216525"/>
              <a:ext cx="4721225" cy="0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A488BB48-6619-2133-54BE-73F2FD5B53CB}"/>
                </a:ext>
              </a:extLst>
            </p:cNvPr>
            <p:cNvCxnSpPr/>
            <p:nvPr>
              <p:custDataLst>
                <p:tags r:id="rId3"/>
              </p:custDataLst>
            </p:nvPr>
          </p:nvCxnSpPr>
          <p:spPr bwMode="gray">
            <a:xfrm>
              <a:off x="4859338" y="4962525"/>
              <a:ext cx="4721225" cy="0"/>
            </a:xfrm>
            <a:prstGeom prst="line">
              <a:avLst/>
            </a:prstGeom>
            <a:ln w="9525" cap="flat" cmpd="sng" algn="ctr">
              <a:solidFill>
                <a:srgbClr val="D6D7D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8465EBC-D3A8-65DE-DADF-3619E1486B91}"/>
                </a:ext>
              </a:extLst>
            </p:cNvPr>
            <p:cNvCxnSpPr/>
            <p:nvPr>
              <p:custDataLst>
                <p:tags r:id="rId4"/>
              </p:custDataLst>
            </p:nvPr>
          </p:nvCxnSpPr>
          <p:spPr bwMode="gray">
            <a:xfrm>
              <a:off x="4859338" y="4708525"/>
              <a:ext cx="4721225" cy="0"/>
            </a:xfrm>
            <a:prstGeom prst="line">
              <a:avLst/>
            </a:prstGeom>
            <a:ln w="9525" cap="flat" cmpd="sng" algn="ctr">
              <a:solidFill>
                <a:srgbClr val="D6D7D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57834775-7808-8C12-1735-DF56913232AB}"/>
                </a:ext>
              </a:extLst>
            </p:cNvPr>
            <p:cNvCxnSpPr/>
            <p:nvPr>
              <p:custDataLst>
                <p:tags r:id="rId5"/>
              </p:custDataLst>
            </p:nvPr>
          </p:nvCxnSpPr>
          <p:spPr bwMode="gray">
            <a:xfrm>
              <a:off x="4859338" y="4452938"/>
              <a:ext cx="4721225" cy="0"/>
            </a:xfrm>
            <a:prstGeom prst="line">
              <a:avLst/>
            </a:prstGeom>
            <a:ln w="9525" cap="flat" cmpd="sng" algn="ctr">
              <a:solidFill>
                <a:srgbClr val="D6D7D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F94F0A5C-6408-84D8-B31C-3B620DFB918F}"/>
                </a:ext>
              </a:extLst>
            </p:cNvPr>
            <p:cNvCxnSpPr/>
            <p:nvPr>
              <p:custDataLst>
                <p:tags r:id="rId6"/>
              </p:custDataLst>
            </p:nvPr>
          </p:nvCxnSpPr>
          <p:spPr bwMode="gray">
            <a:xfrm>
              <a:off x="4859338" y="4198938"/>
              <a:ext cx="4721225" cy="0"/>
            </a:xfrm>
            <a:prstGeom prst="line">
              <a:avLst/>
            </a:prstGeom>
            <a:ln w="9525" cap="flat" cmpd="sng" algn="ctr">
              <a:solidFill>
                <a:srgbClr val="D6D7D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487707D2-2E0B-D173-91EC-D0E952430A3B}"/>
                </a:ext>
              </a:extLst>
            </p:cNvPr>
            <p:cNvCxnSpPr/>
            <p:nvPr>
              <p:custDataLst>
                <p:tags r:id="rId7"/>
              </p:custDataLst>
            </p:nvPr>
          </p:nvCxnSpPr>
          <p:spPr bwMode="gray">
            <a:xfrm>
              <a:off x="4859338" y="3944938"/>
              <a:ext cx="4721225" cy="0"/>
            </a:xfrm>
            <a:prstGeom prst="line">
              <a:avLst/>
            </a:prstGeom>
            <a:ln w="9525" cap="flat" cmpd="sng" algn="ctr">
              <a:solidFill>
                <a:srgbClr val="D6D7D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D7147252-FB5E-23E3-D5FD-39821C23B8A8}"/>
                </a:ext>
              </a:extLst>
            </p:cNvPr>
            <p:cNvCxnSpPr/>
            <p:nvPr>
              <p:custDataLst>
                <p:tags r:id="rId8"/>
              </p:custDataLst>
            </p:nvPr>
          </p:nvCxnSpPr>
          <p:spPr bwMode="gray">
            <a:xfrm>
              <a:off x="4859338" y="3690938"/>
              <a:ext cx="4721225" cy="0"/>
            </a:xfrm>
            <a:prstGeom prst="line">
              <a:avLst/>
            </a:prstGeom>
            <a:ln w="9525" cap="flat" cmpd="sng" algn="ctr">
              <a:solidFill>
                <a:srgbClr val="D6D7D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85FD188-4843-20C4-2BD4-C80980831111}"/>
                </a:ext>
              </a:extLst>
            </p:cNvPr>
            <p:cNvCxnSpPr/>
            <p:nvPr>
              <p:custDataLst>
                <p:tags r:id="rId9"/>
              </p:custDataLst>
            </p:nvPr>
          </p:nvCxnSpPr>
          <p:spPr bwMode="gray">
            <a:xfrm>
              <a:off x="4859338" y="3436938"/>
              <a:ext cx="4721225" cy="0"/>
            </a:xfrm>
            <a:prstGeom prst="line">
              <a:avLst/>
            </a:prstGeom>
            <a:ln w="9525" cap="flat" cmpd="sng" algn="ctr">
              <a:solidFill>
                <a:srgbClr val="D6D7D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7E73FCD9-0307-E326-856C-99C954E0EF43}"/>
                </a:ext>
              </a:extLst>
            </p:cNvPr>
            <p:cNvCxnSpPr/>
            <p:nvPr>
              <p:custDataLst>
                <p:tags r:id="rId10"/>
              </p:custDataLst>
            </p:nvPr>
          </p:nvCxnSpPr>
          <p:spPr bwMode="gray">
            <a:xfrm>
              <a:off x="4859338" y="3182938"/>
              <a:ext cx="4721225" cy="0"/>
            </a:xfrm>
            <a:prstGeom prst="line">
              <a:avLst/>
            </a:prstGeom>
            <a:ln w="9525" cap="flat" cmpd="sng" algn="ctr">
              <a:solidFill>
                <a:srgbClr val="D6D7D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6B6F1CD6-AF5C-B2FF-FE24-BA35473D0362}"/>
                </a:ext>
              </a:extLst>
            </p:cNvPr>
            <p:cNvCxnSpPr/>
            <p:nvPr>
              <p:custDataLst>
                <p:tags r:id="rId11"/>
              </p:custDataLst>
            </p:nvPr>
          </p:nvCxnSpPr>
          <p:spPr bwMode="gray">
            <a:xfrm>
              <a:off x="4859338" y="2927350"/>
              <a:ext cx="4721225" cy="0"/>
            </a:xfrm>
            <a:prstGeom prst="line">
              <a:avLst/>
            </a:prstGeom>
            <a:ln w="9525" cap="flat" cmpd="sng" algn="ctr">
              <a:solidFill>
                <a:srgbClr val="D6D7D9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A34E50FD-ACB6-F39A-393F-EB3797C9F189}"/>
                </a:ext>
              </a:extLst>
            </p:cNvPr>
            <p:cNvCxnSpPr/>
            <p:nvPr>
              <p:custDataLst>
                <p:tags r:id="rId12"/>
              </p:custDataLst>
            </p:nvPr>
          </p:nvCxnSpPr>
          <p:spPr bwMode="auto">
            <a:xfrm>
              <a:off x="4859338" y="2419350"/>
              <a:ext cx="4721225" cy="0"/>
            </a:xfrm>
            <a:prstGeom prst="line">
              <a:avLst/>
            </a:prstGeom>
            <a:ln w="3175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aphicFrame>
          <p:nvGraphicFramePr>
            <p:cNvPr id="36" name="Chart 35">
              <a:extLst>
                <a:ext uri="{FF2B5EF4-FFF2-40B4-BE49-F238E27FC236}">
                  <a16:creationId xmlns:a16="http://schemas.microsoft.com/office/drawing/2014/main" id="{FB05698D-1C6C-D739-B556-9E33ABEE644F}"/>
                </a:ext>
              </a:extLst>
            </p:cNvPr>
            <p:cNvGraphicFramePr/>
            <p:nvPr>
              <p:custDataLst>
                <p:tags r:id="rId13"/>
              </p:custDataLst>
            </p:nvPr>
          </p:nvGraphicFramePr>
          <p:xfrm>
            <a:off x="4371975" y="2263775"/>
            <a:ext cx="5291138" cy="310832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4"/>
            </a:graphicData>
          </a:graphic>
        </p:graphicFrame>
        <p:sp>
          <p:nvSpPr>
            <p:cNvPr id="37" name="Text Placeholder 2">
              <a:extLst>
                <a:ext uri="{FF2B5EF4-FFF2-40B4-BE49-F238E27FC236}">
                  <a16:creationId xmlns:a16="http://schemas.microsoft.com/office/drawing/2014/main" id="{D04844CF-B89B-4743-70FA-E0BB6E92793A}"/>
                </a:ext>
              </a:extLst>
            </p:cNvPr>
            <p:cNvSpPr>
              <a:spLocks noGrp="1"/>
            </p:cNvSpPr>
            <p:nvPr>
              <p:custDataLst>
                <p:tags r:id="rId14"/>
              </p:custDataLst>
            </p:nvPr>
          </p:nvSpPr>
          <p:spPr bwMode="auto">
            <a:xfrm>
              <a:off x="4691063" y="5262563"/>
              <a:ext cx="338138" cy="1682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​"/>
                <a:defRPr sz="1600" b="1" kern="1200">
                  <a:solidFill>
                    <a:srgbClr val="DA291C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fld id="{AB5751D5-6FA5-4652-AF7B-60E9C9FA8DC8}" type="datetime'''2''0''''''''''''''''''''''''''''''''2''''''''''''5'''">
                <a:rPr kumimoji="0" lang="en-GB" altLang="en-US" sz="11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/>
                  <a:ea typeface="+mn-ea"/>
                  <a:cs typeface="+mn-cs"/>
                </a:rPr>
                <a:pPr marL="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​"/>
                  <a:tabLst/>
                  <a:defRPr/>
                </a:pPr>
                <a:t>2025</a:t>
              </a:fld>
              <a:endPara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  <a:sym typeface="GT Walsheim Pro" panose="00000500000000000000" pitchFamily="2" charset="0"/>
              </a:endParaRPr>
            </a:p>
          </p:txBody>
        </p:sp>
        <p:sp>
          <p:nvSpPr>
            <p:cNvPr id="38" name="Text Placeholder 2">
              <a:extLst>
                <a:ext uri="{FF2B5EF4-FFF2-40B4-BE49-F238E27FC236}">
                  <a16:creationId xmlns:a16="http://schemas.microsoft.com/office/drawing/2014/main" id="{C4C2DC83-8813-D0C5-21CB-06B0958DE497}"/>
                </a:ext>
              </a:extLst>
            </p:cNvPr>
            <p:cNvSpPr>
              <a:spLocks noGrp="1"/>
            </p:cNvSpPr>
            <p:nvPr>
              <p:custDataLst>
                <p:tags r:id="rId15"/>
              </p:custDataLst>
            </p:nvPr>
          </p:nvSpPr>
          <p:spPr bwMode="auto">
            <a:xfrm>
              <a:off x="5632450" y="5262563"/>
              <a:ext cx="342900" cy="1682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​"/>
                <a:defRPr sz="1600" b="1" kern="1200">
                  <a:solidFill>
                    <a:srgbClr val="DA291C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fld id="{E9D32D82-84D0-4284-9F48-0AFE85137AC5}" type="datetime'''2''''''''0''''''3''''0'''''''''''">
                <a:rPr kumimoji="0" lang="en-GB" altLang="en-US" sz="11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/>
                  <a:ea typeface="+mn-ea"/>
                  <a:cs typeface="+mn-cs"/>
                </a:rPr>
                <a:pPr marL="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​"/>
                  <a:tabLst/>
                  <a:defRPr/>
                </a:pPr>
                <a:t>2030</a:t>
              </a:fld>
              <a:endPara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  <a:sym typeface="GT Walsheim Pro" panose="00000500000000000000" pitchFamily="2" charset="0"/>
              </a:endParaRPr>
            </a:p>
          </p:txBody>
        </p:sp>
        <p:sp>
          <p:nvSpPr>
            <p:cNvPr id="39" name="Text Placeholder 2">
              <a:extLst>
                <a:ext uri="{FF2B5EF4-FFF2-40B4-BE49-F238E27FC236}">
                  <a16:creationId xmlns:a16="http://schemas.microsoft.com/office/drawing/2014/main" id="{8946BE75-F4D0-169C-986A-8A3EB3753616}"/>
                </a:ext>
              </a:extLst>
            </p:cNvPr>
            <p:cNvSpPr>
              <a:spLocks noGrp="1"/>
            </p:cNvSpPr>
            <p:nvPr>
              <p:custDataLst>
                <p:tags r:id="rId16"/>
              </p:custDataLst>
            </p:nvPr>
          </p:nvSpPr>
          <p:spPr bwMode="auto">
            <a:xfrm>
              <a:off x="6580188" y="5262563"/>
              <a:ext cx="338138" cy="1682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​"/>
                <a:defRPr sz="1600" b="1" kern="1200">
                  <a:solidFill>
                    <a:srgbClr val="DA291C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fld id="{53F24210-DC84-4606-A701-0D7B4FB29911}" type="datetime'2''''''''''''''0''''''''3''''''''5'">
                <a:rPr kumimoji="0" lang="en-GB" altLang="en-US" sz="11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/>
                  <a:ea typeface="+mn-ea"/>
                  <a:cs typeface="+mn-cs"/>
                </a:rPr>
                <a:pPr marL="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​"/>
                  <a:tabLst/>
                  <a:defRPr/>
                </a:pPr>
                <a:t>2035</a:t>
              </a:fld>
              <a:endPara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  <a:sym typeface="GT Walsheim Pro" panose="00000500000000000000" pitchFamily="2" charset="0"/>
              </a:endParaRPr>
            </a:p>
          </p:txBody>
        </p:sp>
        <p:sp>
          <p:nvSpPr>
            <p:cNvPr id="40" name="Text Placeholder 2">
              <a:extLst>
                <a:ext uri="{FF2B5EF4-FFF2-40B4-BE49-F238E27FC236}">
                  <a16:creationId xmlns:a16="http://schemas.microsoft.com/office/drawing/2014/main" id="{CCF93C94-0D56-A9A2-7E2C-976FA31F2D4C}"/>
                </a:ext>
              </a:extLst>
            </p:cNvPr>
            <p:cNvSpPr>
              <a:spLocks noGrp="1"/>
            </p:cNvSpPr>
            <p:nvPr>
              <p:custDataLst>
                <p:tags r:id="rId17"/>
              </p:custDataLst>
            </p:nvPr>
          </p:nvSpPr>
          <p:spPr bwMode="auto">
            <a:xfrm>
              <a:off x="7519988" y="5262563"/>
              <a:ext cx="344488" cy="1682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​"/>
                <a:defRPr sz="1600" b="1" kern="1200">
                  <a:solidFill>
                    <a:srgbClr val="DA291C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fld id="{F0493C92-C7A5-4636-8B96-0563DA8E725E}" type="datetime'''''''''2''''''''0''''''''''''''4''''''0'''''">
                <a:rPr kumimoji="0" lang="en-GB" altLang="en-US" sz="11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/>
                  <a:ea typeface="+mn-ea"/>
                  <a:cs typeface="+mn-cs"/>
                </a:rPr>
                <a:pPr marL="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​"/>
                  <a:tabLst/>
                  <a:defRPr/>
                </a:pPr>
                <a:t>2040</a:t>
              </a:fld>
              <a:endPara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  <a:sym typeface="GT Walsheim Pro" panose="00000500000000000000" pitchFamily="2" charset="0"/>
              </a:endParaRPr>
            </a:p>
          </p:txBody>
        </p:sp>
        <p:sp>
          <p:nvSpPr>
            <p:cNvPr id="41" name="Text Placeholder 2">
              <a:extLst>
                <a:ext uri="{FF2B5EF4-FFF2-40B4-BE49-F238E27FC236}">
                  <a16:creationId xmlns:a16="http://schemas.microsoft.com/office/drawing/2014/main" id="{5C19D412-F8C7-89A6-8798-A60190C9FD4F}"/>
                </a:ext>
              </a:extLst>
            </p:cNvPr>
            <p:cNvSpPr>
              <a:spLocks noGrp="1"/>
            </p:cNvSpPr>
            <p:nvPr>
              <p:custDataLst>
                <p:tags r:id="rId18"/>
              </p:custDataLst>
            </p:nvPr>
          </p:nvSpPr>
          <p:spPr bwMode="auto">
            <a:xfrm>
              <a:off x="8466138" y="5262563"/>
              <a:ext cx="339725" cy="1682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​"/>
                <a:defRPr sz="1600" b="1" kern="1200">
                  <a:solidFill>
                    <a:srgbClr val="DA291C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fld id="{A6214974-30F8-42A9-8F1D-0F904A1E057D}" type="datetime'2''''''0''''4''''''''''''''''5'''''''''''''''''''''''">
                <a:rPr kumimoji="0" lang="en-GB" altLang="en-US" sz="11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/>
                  <a:ea typeface="+mn-ea"/>
                  <a:cs typeface="+mn-cs"/>
                </a:rPr>
                <a:pPr marL="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​"/>
                  <a:tabLst/>
                  <a:defRPr/>
                </a:pPr>
                <a:t>2045</a:t>
              </a:fld>
              <a:endPara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  <a:sym typeface="GT Walsheim Pro" panose="00000500000000000000" pitchFamily="2" charset="0"/>
              </a:endParaRPr>
            </a:p>
          </p:txBody>
        </p:sp>
        <p:sp>
          <p:nvSpPr>
            <p:cNvPr id="42" name="Text Placeholder 2">
              <a:extLst>
                <a:ext uri="{FF2B5EF4-FFF2-40B4-BE49-F238E27FC236}">
                  <a16:creationId xmlns:a16="http://schemas.microsoft.com/office/drawing/2014/main" id="{99766F04-2D45-7052-88BE-7A43FFB6835D}"/>
                </a:ext>
              </a:extLst>
            </p:cNvPr>
            <p:cNvSpPr>
              <a:spLocks noGrp="1"/>
            </p:cNvSpPr>
            <p:nvPr>
              <p:custDataLst>
                <p:tags r:id="rId19"/>
              </p:custDataLst>
            </p:nvPr>
          </p:nvSpPr>
          <p:spPr bwMode="auto">
            <a:xfrm>
              <a:off x="9409113" y="5262563"/>
              <a:ext cx="344488" cy="1682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buFont typeface="Arial" panose="020B0604020202020204" pitchFamily="34" charset="0"/>
                <a:buChar char="​"/>
                <a:defRPr sz="1600" b="1" kern="1200">
                  <a:solidFill>
                    <a:srgbClr val="DA291C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​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48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64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1080000" indent="-216000" algn="l" defTabSz="914400" rtl="0" eaLnBrk="1" latinLnBrk="0" hangingPunct="1">
                <a:lnSpc>
                  <a:spcPct val="100000"/>
                </a:lnSpc>
                <a:spcBef>
                  <a:spcPts val="600"/>
                </a:spcBef>
                <a:buFont typeface="Arial" panose="020B0604020202020204" pitchFamily="34" charset="0"/>
                <a:buChar char="•"/>
                <a:defRPr sz="12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fld id="{04A867D1-4D42-4441-9600-185D9A772BF5}" type="datetime'''''''2''''''''''''''0''''''''''5''''''''''''0'''''''''">
                <a:rPr kumimoji="0" lang="en-GB" altLang="en-US" sz="11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/>
                  <a:ea typeface="+mn-ea"/>
                  <a:cs typeface="+mn-cs"/>
                </a:rPr>
                <a:pPr marL="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​"/>
                  <a:tabLst/>
                  <a:defRPr/>
                </a:pPr>
                <a:t>2050</a:t>
              </a:fld>
              <a:endParaRPr kumimoji="0" lang="da-DK" sz="11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  <a:sym typeface="GT Walsheim Pro" panose="00000500000000000000" pitchFamily="2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B511C56-306B-2DBC-72AF-D011F5A5E137}"/>
                </a:ext>
              </a:extLst>
            </p:cNvPr>
            <p:cNvSpPr txBox="1"/>
            <p:nvPr/>
          </p:nvSpPr>
          <p:spPr>
            <a:xfrm>
              <a:off x="4720337" y="2190750"/>
              <a:ext cx="3095142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0" i="0" u="none" strike="noStrike" kern="1200" cap="none" spc="0" normalizeH="0" baseline="0" noProof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% reduction in GHG intensity</a:t>
              </a:r>
            </a:p>
          </p:txBody>
        </p:sp>
        <p:sp>
          <p:nvSpPr>
            <p:cNvPr id="44" name="Right Brace 43">
              <a:extLst>
                <a:ext uri="{FF2B5EF4-FFF2-40B4-BE49-F238E27FC236}">
                  <a16:creationId xmlns:a16="http://schemas.microsoft.com/office/drawing/2014/main" id="{C12ADAFE-5147-C95F-88F2-B42AE1EF4039}"/>
                </a:ext>
              </a:extLst>
            </p:cNvPr>
            <p:cNvSpPr/>
            <p:nvPr/>
          </p:nvSpPr>
          <p:spPr>
            <a:xfrm>
              <a:off x="11023129" y="4436677"/>
              <a:ext cx="200241" cy="488376"/>
            </a:xfrm>
            <a:prstGeom prst="rightBrac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069332D9-22E7-7053-0C5C-091B006C3705}"/>
                </a:ext>
              </a:extLst>
            </p:cNvPr>
            <p:cNvSpPr txBox="1"/>
            <p:nvPr/>
          </p:nvSpPr>
          <p:spPr>
            <a:xfrm>
              <a:off x="11264958" y="4439598"/>
              <a:ext cx="684829" cy="492125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defRPr/>
              </a:pPr>
              <a:r>
                <a:rPr lang="en-GB" sz="800" i="1">
                  <a:solidFill>
                    <a:prstClr val="black"/>
                  </a:solidFill>
                  <a:latin typeface="GT Walsheim Pro"/>
                </a:rPr>
                <a:t>Well-to-Wake Perspective, 2nd or 3rd gen.</a:t>
              </a:r>
              <a:endParaRPr lang="en-GB" sz="800" i="1">
                <a:solidFill>
                  <a:prstClr val="black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A325108-192D-0EE0-A584-46636EA7076C}"/>
                </a:ext>
              </a:extLst>
            </p:cNvPr>
            <p:cNvSpPr txBox="1"/>
            <p:nvPr/>
          </p:nvSpPr>
          <p:spPr>
            <a:xfrm>
              <a:off x="10121355" y="4982162"/>
              <a:ext cx="1200533" cy="1238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Green ammonia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2C1FAA35-BF2D-E03E-0640-BF9E7880ECB1}"/>
                </a:ext>
              </a:extLst>
            </p:cNvPr>
            <p:cNvSpPr txBox="1"/>
            <p:nvPr/>
          </p:nvSpPr>
          <p:spPr>
            <a:xfrm>
              <a:off x="10121355" y="4442352"/>
              <a:ext cx="756312" cy="24765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Bio-LNG, </a:t>
              </a:r>
              <a:b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</a:b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bio-methanol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9C8A4CC1-8B89-9C06-CB8E-084F50354F33}"/>
                </a:ext>
              </a:extLst>
            </p:cNvPr>
            <p:cNvSpPr txBox="1"/>
            <p:nvPr/>
          </p:nvSpPr>
          <p:spPr>
            <a:xfrm>
              <a:off x="10121355" y="4736040"/>
              <a:ext cx="1200533" cy="1238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B100 (waste-based)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7FA0533-4114-6927-4E71-A62025E8D160}"/>
                </a:ext>
              </a:extLst>
            </p:cNvPr>
            <p:cNvSpPr txBox="1"/>
            <p:nvPr/>
          </p:nvSpPr>
          <p:spPr>
            <a:xfrm>
              <a:off x="10121355" y="3028645"/>
              <a:ext cx="614850" cy="1222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LNG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11CC0DF-41A3-8CB8-45CB-4A64D968D1BB}"/>
                </a:ext>
              </a:extLst>
            </p:cNvPr>
            <p:cNvSpPr txBox="1"/>
            <p:nvPr/>
          </p:nvSpPr>
          <p:spPr>
            <a:xfrm>
              <a:off x="10121355" y="2390167"/>
              <a:ext cx="1088044" cy="1238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Fossil methanol</a:t>
              </a:r>
              <a:endParaRPr kumimoji="0" lang="en-GB" sz="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pic>
          <p:nvPicPr>
            <p:cNvPr id="51" name="Graphic 50" descr="Water with solid fill">
              <a:extLst>
                <a:ext uri="{FF2B5EF4-FFF2-40B4-BE49-F238E27FC236}">
                  <a16:creationId xmlns:a16="http://schemas.microsoft.com/office/drawing/2014/main" id="{F172C3C9-8A7E-F420-1D3C-ABC19CE625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9848558" y="2336192"/>
              <a:ext cx="222271" cy="222250"/>
            </a:xfrm>
            <a:prstGeom prst="rect">
              <a:avLst/>
            </a:prstGeom>
          </p:spPr>
        </p:pic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9B671163-8F25-2163-D7D7-89124F0A4E4B}"/>
                </a:ext>
              </a:extLst>
            </p:cNvPr>
            <p:cNvGrpSpPr/>
            <p:nvPr/>
          </p:nvGrpSpPr>
          <p:grpSpPr>
            <a:xfrm>
              <a:off x="9848558" y="4680477"/>
              <a:ext cx="245885" cy="246063"/>
              <a:chOff x="4276164" y="4976404"/>
              <a:chExt cx="245885" cy="245885"/>
            </a:xfrm>
            <a:solidFill>
              <a:srgbClr val="71B790"/>
            </a:solidFill>
          </p:grpSpPr>
          <p:pic>
            <p:nvPicPr>
              <p:cNvPr id="88" name="Graphic 87" descr="Water outline">
                <a:extLst>
                  <a:ext uri="{FF2B5EF4-FFF2-40B4-BE49-F238E27FC236}">
                    <a16:creationId xmlns:a16="http://schemas.microsoft.com/office/drawing/2014/main" id="{AB71AEC6-23DB-93B1-D557-F437E653F2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8"/>
                  </a:ext>
                </a:extLst>
              </a:blip>
              <a:stretch>
                <a:fillRect/>
              </a:stretch>
            </p:blipFill>
            <p:spPr>
              <a:xfrm>
                <a:off x="4276164" y="4976404"/>
                <a:ext cx="245885" cy="245885"/>
              </a:xfrm>
              <a:prstGeom prst="rect">
                <a:avLst/>
              </a:prstGeom>
            </p:spPr>
          </p:pic>
          <p:pic>
            <p:nvPicPr>
              <p:cNvPr id="89" name="Graphic 88" descr="Leaf with solid fill">
                <a:extLst>
                  <a:ext uri="{FF2B5EF4-FFF2-40B4-BE49-F238E27FC236}">
                    <a16:creationId xmlns:a16="http://schemas.microsoft.com/office/drawing/2014/main" id="{CB2CDB9D-4859-2405-8C89-76789DF33A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tretch>
                <a:fillRect/>
              </a:stretch>
            </p:blipFill>
            <p:spPr>
              <a:xfrm rot="20603725">
                <a:off x="4343156" y="5076909"/>
                <a:ext cx="111898" cy="111898"/>
              </a:xfrm>
              <a:prstGeom prst="rect">
                <a:avLst/>
              </a:prstGeom>
            </p:spPr>
          </p:pic>
        </p:grpSp>
        <p:pic>
          <p:nvPicPr>
            <p:cNvPr id="53" name="Graphic 52" descr="Water with solid fill">
              <a:extLst>
                <a:ext uri="{FF2B5EF4-FFF2-40B4-BE49-F238E27FC236}">
                  <a16:creationId xmlns:a16="http://schemas.microsoft.com/office/drawing/2014/main" id="{0447FC9D-F560-4C7F-ACD6-8224EA3B2F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9848558" y="2965145"/>
              <a:ext cx="220684" cy="220663"/>
            </a:xfrm>
            <a:prstGeom prst="rect">
              <a:avLst/>
            </a:prstGeom>
          </p:spPr>
        </p:pic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C5EA7210-DC7D-0ED7-2609-03EFD09B51F2}"/>
                </a:ext>
              </a:extLst>
            </p:cNvPr>
            <p:cNvGrpSpPr/>
            <p:nvPr/>
          </p:nvGrpSpPr>
          <p:grpSpPr>
            <a:xfrm>
              <a:off x="9848558" y="4437590"/>
              <a:ext cx="245885" cy="246063"/>
              <a:chOff x="4276164" y="4976404"/>
              <a:chExt cx="245885" cy="245885"/>
            </a:xfrm>
            <a:solidFill>
              <a:srgbClr val="7A9A01"/>
            </a:solidFill>
          </p:grpSpPr>
          <p:pic>
            <p:nvPicPr>
              <p:cNvPr id="86" name="Graphic 85" descr="Water outline">
                <a:extLst>
                  <a:ext uri="{FF2B5EF4-FFF2-40B4-BE49-F238E27FC236}">
                    <a16:creationId xmlns:a16="http://schemas.microsoft.com/office/drawing/2014/main" id="{12EA3C94-76D0-402E-7A8E-A738270F43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4"/>
                  </a:ext>
                </a:extLst>
              </a:blip>
              <a:stretch>
                <a:fillRect/>
              </a:stretch>
            </p:blipFill>
            <p:spPr>
              <a:xfrm>
                <a:off x="4276164" y="4976404"/>
                <a:ext cx="245885" cy="245885"/>
              </a:xfrm>
              <a:prstGeom prst="rect">
                <a:avLst/>
              </a:prstGeom>
            </p:spPr>
          </p:pic>
          <p:pic>
            <p:nvPicPr>
              <p:cNvPr id="87" name="Graphic 86" descr="Leaf with solid fill">
                <a:extLst>
                  <a:ext uri="{FF2B5EF4-FFF2-40B4-BE49-F238E27FC236}">
                    <a16:creationId xmlns:a16="http://schemas.microsoft.com/office/drawing/2014/main" id="{151D05A1-A980-F8BD-6953-E423F099A1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6"/>
                  </a:ext>
                </a:extLst>
              </a:blip>
              <a:stretch>
                <a:fillRect/>
              </a:stretch>
            </p:blipFill>
            <p:spPr>
              <a:xfrm rot="20603725">
                <a:off x="4343156" y="5076909"/>
                <a:ext cx="111898" cy="111898"/>
              </a:xfrm>
              <a:prstGeom prst="rect">
                <a:avLst/>
              </a:prstGeom>
            </p:spPr>
          </p:pic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3450F320-F912-5FD4-E388-D441FF3EFE19}"/>
                </a:ext>
              </a:extLst>
            </p:cNvPr>
            <p:cNvGrpSpPr/>
            <p:nvPr/>
          </p:nvGrpSpPr>
          <p:grpSpPr>
            <a:xfrm>
              <a:off x="9848558" y="4905962"/>
              <a:ext cx="245885" cy="246063"/>
              <a:chOff x="4276164" y="4976404"/>
              <a:chExt cx="245885" cy="245885"/>
            </a:xfrm>
            <a:solidFill>
              <a:srgbClr val="5C7401"/>
            </a:solidFill>
          </p:grpSpPr>
          <p:pic>
            <p:nvPicPr>
              <p:cNvPr id="84" name="Graphic 83" descr="Water outline">
                <a:extLst>
                  <a:ext uri="{FF2B5EF4-FFF2-40B4-BE49-F238E27FC236}">
                    <a16:creationId xmlns:a16="http://schemas.microsoft.com/office/drawing/2014/main" id="{9465C172-E5A5-5E12-8EA5-4D5BCF8B701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8"/>
                  </a:ext>
                </a:extLst>
              </a:blip>
              <a:stretch>
                <a:fillRect/>
              </a:stretch>
            </p:blipFill>
            <p:spPr>
              <a:xfrm>
                <a:off x="4276164" y="4976404"/>
                <a:ext cx="245885" cy="245885"/>
              </a:xfrm>
              <a:prstGeom prst="rect">
                <a:avLst/>
              </a:prstGeom>
            </p:spPr>
          </p:pic>
          <p:pic>
            <p:nvPicPr>
              <p:cNvPr id="85" name="Graphic 84" descr="Leaf with solid fill">
                <a:extLst>
                  <a:ext uri="{FF2B5EF4-FFF2-40B4-BE49-F238E27FC236}">
                    <a16:creationId xmlns:a16="http://schemas.microsoft.com/office/drawing/2014/main" id="{75BFB440-FE86-A168-6ADC-342AB4EDD3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0"/>
                  </a:ext>
                </a:extLst>
              </a:blip>
              <a:stretch>
                <a:fillRect/>
              </a:stretch>
            </p:blipFill>
            <p:spPr>
              <a:xfrm rot="20603725">
                <a:off x="4343156" y="5076909"/>
                <a:ext cx="111898" cy="111898"/>
              </a:xfrm>
              <a:prstGeom prst="rect">
                <a:avLst/>
              </a:prstGeom>
            </p:spPr>
          </p:pic>
        </p:grp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C1D30FF-2EB2-E9CF-5421-3737697EC4B4}"/>
                </a:ext>
              </a:extLst>
            </p:cNvPr>
            <p:cNvSpPr txBox="1"/>
            <p:nvPr/>
          </p:nvSpPr>
          <p:spPr>
            <a:xfrm>
              <a:off x="10121355" y="2580041"/>
              <a:ext cx="745758" cy="2460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Reference (2020-average)</a:t>
              </a:r>
              <a:endParaRPr kumimoji="0" lang="en-GB" sz="8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680E09B1-1420-5C2A-23FB-22E6F4AA6169}"/>
                </a:ext>
              </a:extLst>
            </p:cNvPr>
            <p:cNvSpPr/>
            <p:nvPr/>
          </p:nvSpPr>
          <p:spPr>
            <a:xfrm>
              <a:off x="9890902" y="2668574"/>
              <a:ext cx="149783" cy="37866"/>
            </a:xfrm>
            <a:prstGeom prst="roundRect">
              <a:avLst/>
            </a:prstGeom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7D5014AF-1CA8-7238-B97E-A716B2578691}"/>
                </a:ext>
              </a:extLst>
            </p:cNvPr>
            <p:cNvSpPr/>
            <p:nvPr/>
          </p:nvSpPr>
          <p:spPr>
            <a:xfrm>
              <a:off x="9808249" y="2222769"/>
              <a:ext cx="1204700" cy="299370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2EFD8FEE-D31D-5100-73E7-97DEC123B1B5}"/>
                </a:ext>
              </a:extLst>
            </p:cNvPr>
            <p:cNvSpPr/>
            <p:nvPr/>
          </p:nvSpPr>
          <p:spPr>
            <a:xfrm>
              <a:off x="10153865" y="2127230"/>
              <a:ext cx="573489" cy="1660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B0D9D75-2037-CD9B-EBE7-7C872D8C3546}"/>
                </a:ext>
              </a:extLst>
            </p:cNvPr>
            <p:cNvSpPr txBox="1"/>
            <p:nvPr/>
          </p:nvSpPr>
          <p:spPr>
            <a:xfrm>
              <a:off x="11184506" y="2303595"/>
              <a:ext cx="684829" cy="2460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Higher than baseline</a:t>
              </a: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CA54C17C-37B3-0D67-C382-649863AF51C1}"/>
                </a:ext>
              </a:extLst>
            </p:cNvPr>
            <p:cNvCxnSpPr/>
            <p:nvPr/>
          </p:nvCxnSpPr>
          <p:spPr>
            <a:xfrm>
              <a:off x="11012949" y="2441708"/>
              <a:ext cx="212653" cy="0"/>
            </a:xfrm>
            <a:prstGeom prst="line">
              <a:avLst/>
            </a:prstGeom>
            <a:ln w="6350">
              <a:solidFill>
                <a:srgbClr val="CACBC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C281C391-84E5-2B3A-5EFA-6AD919FAB35F}"/>
                </a:ext>
              </a:extLst>
            </p:cNvPr>
            <p:cNvCxnSpPr/>
            <p:nvPr/>
          </p:nvCxnSpPr>
          <p:spPr>
            <a:xfrm>
              <a:off x="11006037" y="3213736"/>
              <a:ext cx="212653" cy="0"/>
            </a:xfrm>
            <a:prstGeom prst="line">
              <a:avLst/>
            </a:prstGeom>
            <a:ln w="6350">
              <a:solidFill>
                <a:srgbClr val="CACBC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961EEBC6-011F-B448-3A71-1959561C3319}"/>
                </a:ext>
              </a:extLst>
            </p:cNvPr>
            <p:cNvSpPr txBox="1"/>
            <p:nvPr/>
          </p:nvSpPr>
          <p:spPr>
            <a:xfrm>
              <a:off x="11188413" y="3085148"/>
              <a:ext cx="684829" cy="2460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Compliant until 2040</a:t>
              </a:r>
            </a:p>
          </p:txBody>
        </p: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8BF1C625-3CF0-EC46-E461-A2845A22F16F}"/>
                </a:ext>
              </a:extLst>
            </p:cNvPr>
            <p:cNvSpPr/>
            <p:nvPr/>
          </p:nvSpPr>
          <p:spPr>
            <a:xfrm>
              <a:off x="9899867" y="3884404"/>
              <a:ext cx="163121" cy="52479"/>
            </a:xfrm>
            <a:prstGeom prst="roundRect">
              <a:avLst/>
            </a:prstGeom>
            <a:solidFill>
              <a:schemeClr val="tx2"/>
            </a:solidFill>
            <a:ln>
              <a:solidFill>
                <a:schemeClr val="tx2"/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9C5AAF25-3B4C-98EE-1BEE-6D7F39DC10F4}"/>
                </a:ext>
              </a:extLst>
            </p:cNvPr>
            <p:cNvSpPr txBox="1"/>
            <p:nvPr/>
          </p:nvSpPr>
          <p:spPr>
            <a:xfrm>
              <a:off x="10121355" y="3845555"/>
              <a:ext cx="745758" cy="1222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Reduction rate</a:t>
              </a:r>
              <a:endParaRPr kumimoji="0" lang="en-GB" sz="8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 panose="00000500000000000000" pitchFamily="2" charset="0"/>
                <a:ea typeface="+mn-ea"/>
                <a:cs typeface="+mn-cs"/>
              </a:endParaRPr>
            </a:p>
          </p:txBody>
        </p: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37478A8B-158C-F56A-66DF-F2349EA0C21A}"/>
                </a:ext>
              </a:extLst>
            </p:cNvPr>
            <p:cNvCxnSpPr/>
            <p:nvPr/>
          </p:nvCxnSpPr>
          <p:spPr>
            <a:xfrm>
              <a:off x="4854572" y="2733112"/>
              <a:ext cx="935725" cy="0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C948FFBC-BFD4-514C-2DE0-7D6519C1B80C}"/>
                </a:ext>
              </a:extLst>
            </p:cNvPr>
            <p:cNvCxnSpPr>
              <a:cxnSpLocks/>
            </p:cNvCxnSpPr>
            <p:nvPr/>
          </p:nvCxnSpPr>
          <p:spPr>
            <a:xfrm>
              <a:off x="5781013" y="2718860"/>
              <a:ext cx="0" cy="130975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B4E8D160-36DA-CED8-190C-F11D6D588E5B}"/>
                </a:ext>
              </a:extLst>
            </p:cNvPr>
            <p:cNvCxnSpPr>
              <a:cxnSpLocks/>
            </p:cNvCxnSpPr>
            <p:nvPr/>
          </p:nvCxnSpPr>
          <p:spPr>
            <a:xfrm>
              <a:off x="5781013" y="2834354"/>
              <a:ext cx="919821" cy="0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5F5CF7B5-9223-0AA4-7ECC-E5389F14136C}"/>
                </a:ext>
              </a:extLst>
            </p:cNvPr>
            <p:cNvCxnSpPr>
              <a:cxnSpLocks/>
            </p:cNvCxnSpPr>
            <p:nvPr/>
          </p:nvCxnSpPr>
          <p:spPr>
            <a:xfrm>
              <a:off x="6683798" y="2836008"/>
              <a:ext cx="0" cy="228600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7F9769EA-9A8E-D97F-4672-D97E8C87E9A8}"/>
                </a:ext>
              </a:extLst>
            </p:cNvPr>
            <p:cNvCxnSpPr/>
            <p:nvPr/>
          </p:nvCxnSpPr>
          <p:spPr>
            <a:xfrm>
              <a:off x="6670675" y="3057797"/>
              <a:ext cx="1008063" cy="0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9177F2D7-AF5D-6505-9D6B-11BC895F73FB}"/>
                </a:ext>
              </a:extLst>
            </p:cNvPr>
            <p:cNvCxnSpPr>
              <a:cxnSpLocks/>
            </p:cNvCxnSpPr>
            <p:nvPr/>
          </p:nvCxnSpPr>
          <p:spPr>
            <a:xfrm>
              <a:off x="7677150" y="3054910"/>
              <a:ext cx="0" cy="393192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5909546A-1F02-C5FD-827B-42B3C2A15EFF}"/>
                </a:ext>
              </a:extLst>
            </p:cNvPr>
            <p:cNvCxnSpPr/>
            <p:nvPr/>
          </p:nvCxnSpPr>
          <p:spPr>
            <a:xfrm>
              <a:off x="7658100" y="3463401"/>
              <a:ext cx="1008063" cy="0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24D235FB-37AB-36EB-CC88-A0267ADA105C}"/>
                </a:ext>
              </a:extLst>
            </p:cNvPr>
            <p:cNvCxnSpPr>
              <a:cxnSpLocks/>
            </p:cNvCxnSpPr>
            <p:nvPr/>
          </p:nvCxnSpPr>
          <p:spPr>
            <a:xfrm>
              <a:off x="8653463" y="3452893"/>
              <a:ext cx="0" cy="786384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5F2837E8-E585-0B3A-D414-BD2E2204C43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643938" y="4227772"/>
              <a:ext cx="942975" cy="2361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68DCCFCF-2A46-0354-F09B-E83D8D9F2F26}"/>
                </a:ext>
              </a:extLst>
            </p:cNvPr>
            <p:cNvCxnSpPr>
              <a:cxnSpLocks/>
            </p:cNvCxnSpPr>
            <p:nvPr/>
          </p:nvCxnSpPr>
          <p:spPr>
            <a:xfrm>
              <a:off x="9577388" y="4219855"/>
              <a:ext cx="0" cy="502920"/>
            </a:xfrm>
            <a:prstGeom prst="line">
              <a:avLst/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D6613FD3-33A5-ADC7-4713-9BB2A68BCE4A}"/>
                </a:ext>
              </a:extLst>
            </p:cNvPr>
            <p:cNvSpPr txBox="1"/>
            <p:nvPr/>
          </p:nvSpPr>
          <p:spPr>
            <a:xfrm>
              <a:off x="5143557" y="2769285"/>
              <a:ext cx="358661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1" i="0" u="none" strike="noStrike" kern="1200" cap="none" spc="0" normalizeH="0" baseline="0" noProof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2%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DF8196FC-8CCE-64B5-FB4B-6CAB85F7BDC1}"/>
                </a:ext>
              </a:extLst>
            </p:cNvPr>
            <p:cNvSpPr txBox="1"/>
            <p:nvPr/>
          </p:nvSpPr>
          <p:spPr>
            <a:xfrm>
              <a:off x="6089689" y="2861573"/>
              <a:ext cx="296414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1" i="0" u="none" strike="noStrike" kern="1200" cap="none" spc="0" normalizeH="0" baseline="0" noProof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6%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DF5E87B9-BEA3-713F-5D9D-C450E118885C}"/>
                </a:ext>
              </a:extLst>
            </p:cNvPr>
            <p:cNvSpPr txBox="1"/>
            <p:nvPr/>
          </p:nvSpPr>
          <p:spPr>
            <a:xfrm>
              <a:off x="6989165" y="3098122"/>
              <a:ext cx="394527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1" i="0" u="none" strike="noStrike" kern="1200" cap="none" spc="0" normalizeH="0" baseline="0" noProof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14.5%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3D40729E-8199-5836-7933-D9578EDAC998}"/>
                </a:ext>
              </a:extLst>
            </p:cNvPr>
            <p:cNvSpPr txBox="1"/>
            <p:nvPr/>
          </p:nvSpPr>
          <p:spPr>
            <a:xfrm>
              <a:off x="7963467" y="3499796"/>
              <a:ext cx="394527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1" i="0" u="none" strike="noStrike" kern="1200" cap="none" spc="0" normalizeH="0" baseline="0" noProof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31%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3D9345EF-4149-60EC-AD02-A3114C2FB234}"/>
                </a:ext>
              </a:extLst>
            </p:cNvPr>
            <p:cNvSpPr txBox="1"/>
            <p:nvPr/>
          </p:nvSpPr>
          <p:spPr>
            <a:xfrm>
              <a:off x="8913030" y="4301082"/>
              <a:ext cx="394527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1" i="0" u="none" strike="noStrike" kern="1200" cap="none" spc="0" normalizeH="0" baseline="0" noProof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62%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D949701F-CB9F-6075-7354-715F933AD817}"/>
                </a:ext>
              </a:extLst>
            </p:cNvPr>
            <p:cNvSpPr txBox="1"/>
            <p:nvPr/>
          </p:nvSpPr>
          <p:spPr>
            <a:xfrm>
              <a:off x="9383611" y="4775203"/>
              <a:ext cx="394527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1" i="0" u="none" strike="noStrike" kern="1200" cap="none" spc="0" normalizeH="0" baseline="0" noProof="0">
                  <a:ln>
                    <a:noFill/>
                  </a:ln>
                  <a:solidFill>
                    <a:srgbClr val="001E3B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80%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FFE9B0F-84F2-D8EA-A62B-697B05868750}"/>
                </a:ext>
              </a:extLst>
            </p:cNvPr>
            <p:cNvSpPr txBox="1"/>
            <p:nvPr/>
          </p:nvSpPr>
          <p:spPr>
            <a:xfrm>
              <a:off x="10121355" y="3257181"/>
              <a:ext cx="1200533" cy="1238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T Walsheim Pro" panose="00000500000000000000" pitchFamily="2" charset="0"/>
                  <a:ea typeface="+mn-ea"/>
                  <a:cs typeface="+mn-cs"/>
                </a:rPr>
                <a:t>B30 VLSFO</a:t>
              </a:r>
            </a:p>
          </p:txBody>
        </p:sp>
        <p:pic>
          <p:nvPicPr>
            <p:cNvPr id="83" name="Graphic 82" descr="Water with solid fill">
              <a:extLst>
                <a:ext uri="{FF2B5EF4-FFF2-40B4-BE49-F238E27FC236}">
                  <a16:creationId xmlns:a16="http://schemas.microsoft.com/office/drawing/2014/main" id="{D5E9A439-72C2-6518-E0FA-A358482275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9848558" y="3203913"/>
              <a:ext cx="220684" cy="220663"/>
            </a:xfrm>
            <a:prstGeom prst="rect">
              <a:avLst/>
            </a:prstGeom>
          </p:spPr>
        </p:pic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3B926BFC-0FA2-EA8B-007A-B4F0CECA44EB}"/>
              </a:ext>
            </a:extLst>
          </p:cNvPr>
          <p:cNvGrpSpPr/>
          <p:nvPr/>
        </p:nvGrpSpPr>
        <p:grpSpPr>
          <a:xfrm>
            <a:off x="3917917" y="1786066"/>
            <a:ext cx="209548" cy="4140000"/>
            <a:chOff x="4559960" y="1786066"/>
            <a:chExt cx="209548" cy="4140000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81ABDF9F-BAE3-B1BB-1F30-0FD83AA00971}"/>
                </a:ext>
              </a:extLst>
            </p:cNvPr>
            <p:cNvCxnSpPr>
              <a:cxnSpLocks/>
            </p:cNvCxnSpPr>
            <p:nvPr/>
          </p:nvCxnSpPr>
          <p:spPr>
            <a:xfrm>
              <a:off x="4661561" y="1786066"/>
              <a:ext cx="0" cy="4140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C2FD7826-5B11-2C2B-7E16-9FB7E5980DF5}"/>
                </a:ext>
              </a:extLst>
            </p:cNvPr>
            <p:cNvGrpSpPr/>
            <p:nvPr/>
          </p:nvGrpSpPr>
          <p:grpSpPr>
            <a:xfrm>
              <a:off x="4559960" y="3639236"/>
              <a:ext cx="209548" cy="579651"/>
              <a:chOff x="4559960" y="3603417"/>
              <a:chExt cx="209548" cy="579651"/>
            </a:xfrm>
          </p:grpSpPr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81A20C34-4EB4-64D0-008A-8E487FEC1A62}"/>
                  </a:ext>
                </a:extLst>
              </p:cNvPr>
              <p:cNvSpPr/>
              <p:nvPr/>
            </p:nvSpPr>
            <p:spPr>
              <a:xfrm>
                <a:off x="4559960" y="3603417"/>
                <a:ext cx="209548" cy="57965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T Walsheim Pro"/>
                  <a:ea typeface="+mn-ea"/>
                  <a:cs typeface="+mn-cs"/>
                </a:endParaRPr>
              </a:p>
            </p:txBody>
          </p: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DE35A6CC-D29E-9BC2-0B57-657EB7CCC104}"/>
                  </a:ext>
                </a:extLst>
              </p:cNvPr>
              <p:cNvGrpSpPr/>
              <p:nvPr/>
            </p:nvGrpSpPr>
            <p:grpSpPr>
              <a:xfrm>
                <a:off x="4559960" y="3747084"/>
                <a:ext cx="194067" cy="290512"/>
                <a:chOff x="5146674" y="3728034"/>
                <a:chExt cx="194067" cy="290512"/>
              </a:xfrm>
            </p:grpSpPr>
            <p:sp>
              <p:nvSpPr>
                <p:cNvPr id="95" name="Arrow: Chevron 94">
                  <a:extLst>
                    <a:ext uri="{FF2B5EF4-FFF2-40B4-BE49-F238E27FC236}">
                      <a16:creationId xmlns:a16="http://schemas.microsoft.com/office/drawing/2014/main" id="{0F622F8A-FFD1-4C66-C425-E7D0DA6891AC}"/>
                    </a:ext>
                  </a:extLst>
                </p:cNvPr>
                <p:cNvSpPr/>
                <p:nvPr/>
              </p:nvSpPr>
              <p:spPr>
                <a:xfrm>
                  <a:off x="5219300" y="3728034"/>
                  <a:ext cx="121441" cy="290512"/>
                </a:xfrm>
                <a:prstGeom prst="chevron">
                  <a:avLst>
                    <a:gd name="adj" fmla="val 68052"/>
                  </a:avLst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3B"/>
                    </a:solidFill>
                    <a:effectLst/>
                    <a:uLnTx/>
                    <a:uFillTx/>
                    <a:latin typeface="GT Walsheim Pro"/>
                    <a:ea typeface="+mn-ea"/>
                    <a:cs typeface="+mn-cs"/>
                  </a:endParaRPr>
                </a:p>
              </p:txBody>
            </p:sp>
            <p:sp>
              <p:nvSpPr>
                <p:cNvPr id="96" name="Arrow: Chevron 95">
                  <a:extLst>
                    <a:ext uri="{FF2B5EF4-FFF2-40B4-BE49-F238E27FC236}">
                      <a16:creationId xmlns:a16="http://schemas.microsoft.com/office/drawing/2014/main" id="{42E5BBC7-3240-499C-F8CF-1B784ECE1690}"/>
                    </a:ext>
                  </a:extLst>
                </p:cNvPr>
                <p:cNvSpPr/>
                <p:nvPr/>
              </p:nvSpPr>
              <p:spPr>
                <a:xfrm>
                  <a:off x="5146674" y="3728034"/>
                  <a:ext cx="121441" cy="290512"/>
                </a:xfrm>
                <a:prstGeom prst="chevron">
                  <a:avLst>
                    <a:gd name="adj" fmla="val 68052"/>
                  </a:avLst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1E3B"/>
                    </a:solidFill>
                    <a:effectLst/>
                    <a:uLnTx/>
                    <a:uFillTx/>
                    <a:latin typeface="GT Walsheim Pro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FEC153F9-173B-DE26-8BB2-EEEDD3C68C1D}"/>
              </a:ext>
            </a:extLst>
          </p:cNvPr>
          <p:cNvSpPr txBox="1"/>
          <p:nvPr/>
        </p:nvSpPr>
        <p:spPr>
          <a:xfrm>
            <a:off x="750302" y="6506681"/>
            <a:ext cx="3291840" cy="1586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 Light" panose="00000400000000000000" pitchFamily="2" charset="0"/>
                <a:ea typeface="+mn-ea"/>
                <a:cs typeface="+mn-cs"/>
              </a:rPr>
              <a:t>*RFNBO: Renewable liquid and gaseous fuels of non-biological origin.</a:t>
            </a:r>
            <a:endParaRPr kumimoji="0" lang="da-DK" sz="800" b="0" i="0" u="none" strike="noStrike" kern="1200" cap="none" spc="0" normalizeH="0" baseline="0" noProof="0">
              <a:ln>
                <a:noFill/>
              </a:ln>
              <a:solidFill>
                <a:srgbClr val="001E3B"/>
              </a:solidFill>
              <a:effectLst/>
              <a:uLnTx/>
              <a:uFillTx/>
              <a:latin typeface="GT Walsheim Pro Light" panose="000004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344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7D1C70-556B-567A-EABA-155E4E95FE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C7D1C70-556B-567A-EABA-155E4E95F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81D6B7A-B1A8-732B-A5FD-077C42B5E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060" y="569829"/>
            <a:ext cx="11160125" cy="530594"/>
          </a:xfrm>
        </p:spPr>
        <p:txBody>
          <a:bodyPr vert="horz"/>
          <a:lstStyle/>
          <a:p>
            <a:r>
              <a:rPr lang="en-US"/>
              <a:t>well-to-wake PERSPECTIVE</a:t>
            </a:r>
            <a:endParaRPr lang="en-US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E0207EF-D30C-252B-3DE1-B884B43DB9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BC3415-6A21-2E49-A058-D443F991EEAB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1E3B">
                    <a:tint val="75000"/>
                  </a:srgbClr>
                </a:solidFill>
                <a:effectLst/>
                <a:uLnTx/>
                <a:uFillTx/>
                <a:latin typeface="GT Walsheim Pro Light" pitchFamily="2" charset="77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1E3B">
                  <a:tint val="75000"/>
                </a:srgbClr>
              </a:solidFill>
              <a:effectLst/>
              <a:uLnTx/>
              <a:uFillTx/>
              <a:latin typeface="GT Walsheim Pro Light" pitchFamily="2" charset="77"/>
              <a:ea typeface="+mn-ea"/>
              <a:cs typeface="+mn-c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7A083E2-2243-00AE-893F-82F56B949A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15312" y="1420011"/>
            <a:ext cx="5517552" cy="551755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2547E585-EE1D-6DA5-4494-58D7C8EC404A}"/>
              </a:ext>
            </a:extLst>
          </p:cNvPr>
          <p:cNvSpPr/>
          <p:nvPr/>
        </p:nvSpPr>
        <p:spPr>
          <a:xfrm>
            <a:off x="515938" y="2307774"/>
            <a:ext cx="11056568" cy="827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WELL-TO-WAKE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Refers to the emissions for the entire process from fuel production and delivery to use onboard ship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E1E1E62-F081-4C63-6572-4DFF3A2A0698}"/>
              </a:ext>
            </a:extLst>
          </p:cNvPr>
          <p:cNvSpPr/>
          <p:nvPr/>
        </p:nvSpPr>
        <p:spPr>
          <a:xfrm>
            <a:off x="515938" y="3408417"/>
            <a:ext cx="6305776" cy="827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WELL-TO-TANK</a:t>
            </a: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89DDEA-D358-8408-0F62-ABEBDC3C1A35}"/>
              </a:ext>
            </a:extLst>
          </p:cNvPr>
          <p:cNvSpPr/>
          <p:nvPr/>
        </p:nvSpPr>
        <p:spPr>
          <a:xfrm>
            <a:off x="7315200" y="3408417"/>
            <a:ext cx="4257306" cy="82731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TANK-TO-WAKE</a:t>
            </a:r>
            <a:endParaRPr kumimoji="0" lang="da-DK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1988447B-A3D0-9560-0A66-BD2FCDCA41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3995" y="4541437"/>
            <a:ext cx="555702" cy="555702"/>
          </a:xfrm>
          <a:prstGeom prst="rect">
            <a:avLst/>
          </a:prstGeom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C83F729-1AFE-D556-58EF-D69EED6FBFC7}"/>
              </a:ext>
            </a:extLst>
          </p:cNvPr>
          <p:cNvSpPr/>
          <p:nvPr/>
        </p:nvSpPr>
        <p:spPr>
          <a:xfrm>
            <a:off x="1328346" y="4886480"/>
            <a:ext cx="233181" cy="234020"/>
          </a:xfrm>
          <a:custGeom>
            <a:avLst/>
            <a:gdLst>
              <a:gd name="connsiteX0" fmla="*/ 137301 w 233181"/>
              <a:gd name="connsiteY0" fmla="*/ 1957 h 234020"/>
              <a:gd name="connsiteX1" fmla="*/ 116560 w 233181"/>
              <a:gd name="connsiteY1" fmla="*/ 0 h 234020"/>
              <a:gd name="connsiteX2" fmla="*/ 104037 w 233181"/>
              <a:gd name="connsiteY2" fmla="*/ 783 h 234020"/>
              <a:gd name="connsiteX3" fmla="*/ 94254 w 233181"/>
              <a:gd name="connsiteY3" fmla="*/ 2348 h 234020"/>
              <a:gd name="connsiteX4" fmla="*/ 48076 w 233181"/>
              <a:gd name="connsiteY4" fmla="*/ 22306 h 234020"/>
              <a:gd name="connsiteX5" fmla="*/ 41815 w 233181"/>
              <a:gd name="connsiteY5" fmla="*/ 27394 h 234020"/>
              <a:gd name="connsiteX6" fmla="*/ 26944 w 233181"/>
              <a:gd name="connsiteY6" fmla="*/ 191756 h 234020"/>
              <a:gd name="connsiteX7" fmla="*/ 31248 w 233181"/>
              <a:gd name="connsiteY7" fmla="*/ 196452 h 234020"/>
              <a:gd name="connsiteX8" fmla="*/ 41815 w 233181"/>
              <a:gd name="connsiteY8" fmla="*/ 206627 h 234020"/>
              <a:gd name="connsiteX9" fmla="*/ 48076 w 233181"/>
              <a:gd name="connsiteY9" fmla="*/ 211323 h 234020"/>
              <a:gd name="connsiteX10" fmla="*/ 93863 w 233181"/>
              <a:gd name="connsiteY10" fmla="*/ 231673 h 234020"/>
              <a:gd name="connsiteX11" fmla="*/ 103646 w 233181"/>
              <a:gd name="connsiteY11" fmla="*/ 233238 h 234020"/>
              <a:gd name="connsiteX12" fmla="*/ 116169 w 233181"/>
              <a:gd name="connsiteY12" fmla="*/ 234021 h 234020"/>
              <a:gd name="connsiteX13" fmla="*/ 233179 w 233181"/>
              <a:gd name="connsiteY13" fmla="*/ 117402 h 234020"/>
              <a:gd name="connsiteX14" fmla="*/ 137301 w 233181"/>
              <a:gd name="connsiteY14" fmla="*/ 1957 h 234020"/>
              <a:gd name="connsiteX15" fmla="*/ 137301 w 233181"/>
              <a:gd name="connsiteY15" fmla="*/ 1957 h 234020"/>
              <a:gd name="connsiteX16" fmla="*/ 124778 w 233181"/>
              <a:gd name="connsiteY16" fmla="*/ 183538 h 234020"/>
              <a:gd name="connsiteX17" fmla="*/ 124778 w 233181"/>
              <a:gd name="connsiteY17" fmla="*/ 198017 h 234020"/>
              <a:gd name="connsiteX18" fmla="*/ 109907 w 233181"/>
              <a:gd name="connsiteY18" fmla="*/ 198017 h 234020"/>
              <a:gd name="connsiteX19" fmla="*/ 109907 w 233181"/>
              <a:gd name="connsiteY19" fmla="*/ 183929 h 234020"/>
              <a:gd name="connsiteX20" fmla="*/ 86818 w 233181"/>
              <a:gd name="connsiteY20" fmla="*/ 153405 h 234020"/>
              <a:gd name="connsiteX21" fmla="*/ 86818 w 233181"/>
              <a:gd name="connsiteY21" fmla="*/ 141273 h 234020"/>
              <a:gd name="connsiteX22" fmla="*/ 105603 w 233181"/>
              <a:gd name="connsiteY22" fmla="*/ 141273 h 234020"/>
              <a:gd name="connsiteX23" fmla="*/ 105603 w 233181"/>
              <a:gd name="connsiteY23" fmla="*/ 153405 h 234020"/>
              <a:gd name="connsiteX24" fmla="*/ 116952 w 233181"/>
              <a:gd name="connsiteY24" fmla="*/ 166710 h 234020"/>
              <a:gd name="connsiteX25" fmla="*/ 128300 w 233181"/>
              <a:gd name="connsiteY25" fmla="*/ 154187 h 234020"/>
              <a:gd name="connsiteX26" fmla="*/ 111081 w 233181"/>
              <a:gd name="connsiteY26" fmla="*/ 121706 h 234020"/>
              <a:gd name="connsiteX27" fmla="*/ 87992 w 233181"/>
              <a:gd name="connsiteY27" fmla="*/ 77876 h 234020"/>
              <a:gd name="connsiteX28" fmla="*/ 109907 w 233181"/>
              <a:gd name="connsiteY28" fmla="*/ 45787 h 234020"/>
              <a:gd name="connsiteX29" fmla="*/ 109907 w 233181"/>
              <a:gd name="connsiteY29" fmla="*/ 30916 h 234020"/>
              <a:gd name="connsiteX30" fmla="*/ 125170 w 233181"/>
              <a:gd name="connsiteY30" fmla="*/ 30916 h 234020"/>
              <a:gd name="connsiteX31" fmla="*/ 125170 w 233181"/>
              <a:gd name="connsiteY31" fmla="*/ 45004 h 234020"/>
              <a:gd name="connsiteX32" fmla="*/ 147867 w 233181"/>
              <a:gd name="connsiteY32" fmla="*/ 75528 h 234020"/>
              <a:gd name="connsiteX33" fmla="*/ 147867 w 233181"/>
              <a:gd name="connsiteY33" fmla="*/ 87660 h 234020"/>
              <a:gd name="connsiteX34" fmla="*/ 129083 w 233181"/>
              <a:gd name="connsiteY34" fmla="*/ 87660 h 234020"/>
              <a:gd name="connsiteX35" fmla="*/ 129083 w 233181"/>
              <a:gd name="connsiteY35" fmla="*/ 75137 h 234020"/>
              <a:gd name="connsiteX36" fmla="*/ 118517 w 233181"/>
              <a:gd name="connsiteY36" fmla="*/ 62223 h 234020"/>
              <a:gd name="connsiteX37" fmla="*/ 108342 w 233181"/>
              <a:gd name="connsiteY37" fmla="*/ 73572 h 234020"/>
              <a:gd name="connsiteX38" fmla="*/ 124778 w 233181"/>
              <a:gd name="connsiteY38" fmla="*/ 105661 h 234020"/>
              <a:gd name="connsiteX39" fmla="*/ 148259 w 233181"/>
              <a:gd name="connsiteY39" fmla="*/ 151448 h 234020"/>
              <a:gd name="connsiteX40" fmla="*/ 124778 w 233181"/>
              <a:gd name="connsiteY40" fmla="*/ 183538 h 234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33181" h="234020">
                <a:moveTo>
                  <a:pt x="137301" y="1957"/>
                </a:moveTo>
                <a:cubicBezTo>
                  <a:pt x="130257" y="783"/>
                  <a:pt x="123604" y="0"/>
                  <a:pt x="116560" y="0"/>
                </a:cubicBezTo>
                <a:cubicBezTo>
                  <a:pt x="112255" y="0"/>
                  <a:pt x="107951" y="391"/>
                  <a:pt x="104037" y="783"/>
                </a:cubicBezTo>
                <a:cubicBezTo>
                  <a:pt x="100907" y="1174"/>
                  <a:pt x="97385" y="1565"/>
                  <a:pt x="94254" y="2348"/>
                </a:cubicBezTo>
                <a:cubicBezTo>
                  <a:pt x="77426" y="5479"/>
                  <a:pt x="61773" y="12523"/>
                  <a:pt x="48076" y="22306"/>
                </a:cubicBezTo>
                <a:cubicBezTo>
                  <a:pt x="45728" y="23872"/>
                  <a:pt x="43771" y="25437"/>
                  <a:pt x="41815" y="27394"/>
                </a:cubicBezTo>
                <a:cubicBezTo>
                  <a:pt x="-7494" y="68876"/>
                  <a:pt x="-14147" y="142447"/>
                  <a:pt x="26944" y="191756"/>
                </a:cubicBezTo>
                <a:cubicBezTo>
                  <a:pt x="28118" y="193321"/>
                  <a:pt x="29683" y="194887"/>
                  <a:pt x="31248" y="196452"/>
                </a:cubicBezTo>
                <a:cubicBezTo>
                  <a:pt x="34770" y="199974"/>
                  <a:pt x="38292" y="203496"/>
                  <a:pt x="41815" y="206627"/>
                </a:cubicBezTo>
                <a:cubicBezTo>
                  <a:pt x="43771" y="208192"/>
                  <a:pt x="46119" y="210149"/>
                  <a:pt x="48076" y="211323"/>
                </a:cubicBezTo>
                <a:cubicBezTo>
                  <a:pt x="61773" y="221498"/>
                  <a:pt x="77426" y="228151"/>
                  <a:pt x="93863" y="231673"/>
                </a:cubicBezTo>
                <a:cubicBezTo>
                  <a:pt x="96993" y="232455"/>
                  <a:pt x="100515" y="232847"/>
                  <a:pt x="103646" y="233238"/>
                </a:cubicBezTo>
                <a:cubicBezTo>
                  <a:pt x="107951" y="233629"/>
                  <a:pt x="112255" y="234021"/>
                  <a:pt x="116169" y="234021"/>
                </a:cubicBezTo>
                <a:cubicBezTo>
                  <a:pt x="180740" y="234021"/>
                  <a:pt x="233179" y="181973"/>
                  <a:pt x="233179" y="117402"/>
                </a:cubicBezTo>
                <a:cubicBezTo>
                  <a:pt x="233570" y="60658"/>
                  <a:pt x="192871" y="12131"/>
                  <a:pt x="137301" y="1957"/>
                </a:cubicBezTo>
                <a:lnTo>
                  <a:pt x="137301" y="1957"/>
                </a:lnTo>
                <a:close/>
                <a:moveTo>
                  <a:pt x="124778" y="183538"/>
                </a:moveTo>
                <a:lnTo>
                  <a:pt x="124778" y="198017"/>
                </a:lnTo>
                <a:lnTo>
                  <a:pt x="109907" y="198017"/>
                </a:lnTo>
                <a:lnTo>
                  <a:pt x="109907" y="183929"/>
                </a:lnTo>
                <a:cubicBezTo>
                  <a:pt x="95428" y="181190"/>
                  <a:pt x="86818" y="169841"/>
                  <a:pt x="86818" y="153405"/>
                </a:cubicBezTo>
                <a:lnTo>
                  <a:pt x="86818" y="141273"/>
                </a:lnTo>
                <a:lnTo>
                  <a:pt x="105603" y="141273"/>
                </a:lnTo>
                <a:lnTo>
                  <a:pt x="105603" y="153405"/>
                </a:lnTo>
                <a:cubicBezTo>
                  <a:pt x="105603" y="162014"/>
                  <a:pt x="109516" y="166710"/>
                  <a:pt x="116952" y="166710"/>
                </a:cubicBezTo>
                <a:cubicBezTo>
                  <a:pt x="124387" y="166710"/>
                  <a:pt x="128300" y="162014"/>
                  <a:pt x="128300" y="154187"/>
                </a:cubicBezTo>
                <a:cubicBezTo>
                  <a:pt x="128300" y="142447"/>
                  <a:pt x="122822" y="134229"/>
                  <a:pt x="111081" y="121706"/>
                </a:cubicBezTo>
                <a:cubicBezTo>
                  <a:pt x="100515" y="110749"/>
                  <a:pt x="87992" y="95095"/>
                  <a:pt x="87992" y="77876"/>
                </a:cubicBezTo>
                <a:cubicBezTo>
                  <a:pt x="87992" y="62223"/>
                  <a:pt x="95428" y="49309"/>
                  <a:pt x="109907" y="45787"/>
                </a:cubicBezTo>
                <a:lnTo>
                  <a:pt x="109907" y="30916"/>
                </a:lnTo>
                <a:lnTo>
                  <a:pt x="125170" y="30916"/>
                </a:lnTo>
                <a:lnTo>
                  <a:pt x="125170" y="45004"/>
                </a:lnTo>
                <a:cubicBezTo>
                  <a:pt x="138867" y="47743"/>
                  <a:pt x="147867" y="59483"/>
                  <a:pt x="147867" y="75528"/>
                </a:cubicBezTo>
                <a:lnTo>
                  <a:pt x="147867" y="87660"/>
                </a:lnTo>
                <a:lnTo>
                  <a:pt x="129083" y="87660"/>
                </a:lnTo>
                <a:lnTo>
                  <a:pt x="129083" y="75137"/>
                </a:lnTo>
                <a:cubicBezTo>
                  <a:pt x="129083" y="67310"/>
                  <a:pt x="125561" y="62223"/>
                  <a:pt x="118517" y="62223"/>
                </a:cubicBezTo>
                <a:cubicBezTo>
                  <a:pt x="112255" y="62223"/>
                  <a:pt x="108342" y="66136"/>
                  <a:pt x="108342" y="73572"/>
                </a:cubicBezTo>
                <a:cubicBezTo>
                  <a:pt x="108342" y="86486"/>
                  <a:pt x="114604" y="93139"/>
                  <a:pt x="124778" y="105661"/>
                </a:cubicBezTo>
                <a:cubicBezTo>
                  <a:pt x="136127" y="118576"/>
                  <a:pt x="148259" y="132273"/>
                  <a:pt x="148259" y="151448"/>
                </a:cubicBezTo>
                <a:cubicBezTo>
                  <a:pt x="147867" y="169450"/>
                  <a:pt x="138475" y="180798"/>
                  <a:pt x="124778" y="183538"/>
                </a:cubicBezTo>
                <a:close/>
              </a:path>
            </a:pathLst>
          </a:custGeom>
          <a:solidFill>
            <a:srgbClr val="4D4D4D"/>
          </a:solidFill>
          <a:ln w="389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1E3B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29611CF-E8DC-B99D-DE32-4E0F122ACB6C}"/>
              </a:ext>
            </a:extLst>
          </p:cNvPr>
          <p:cNvSpPr/>
          <p:nvPr/>
        </p:nvSpPr>
        <p:spPr>
          <a:xfrm>
            <a:off x="1140836" y="4565583"/>
            <a:ext cx="343986" cy="516958"/>
          </a:xfrm>
          <a:custGeom>
            <a:avLst/>
            <a:gdLst>
              <a:gd name="connsiteX0" fmla="*/ 304070 w 343986"/>
              <a:gd name="connsiteY0" fmla="*/ 308375 h 516958"/>
              <a:gd name="connsiteX1" fmla="*/ 324811 w 343986"/>
              <a:gd name="connsiteY1" fmla="*/ 309940 h 516958"/>
              <a:gd name="connsiteX2" fmla="*/ 324811 w 343986"/>
              <a:gd name="connsiteY2" fmla="*/ 276676 h 516958"/>
              <a:gd name="connsiteX3" fmla="*/ 343987 w 343986"/>
              <a:gd name="connsiteY3" fmla="*/ 276676 h 516958"/>
              <a:gd name="connsiteX4" fmla="*/ 343987 w 343986"/>
              <a:gd name="connsiteY4" fmla="*/ 234803 h 516958"/>
              <a:gd name="connsiteX5" fmla="*/ 324811 w 343986"/>
              <a:gd name="connsiteY5" fmla="*/ 234803 h 516958"/>
              <a:gd name="connsiteX6" fmla="*/ 324811 w 343986"/>
              <a:gd name="connsiteY6" fmla="*/ 41873 h 516958"/>
              <a:gd name="connsiteX7" fmla="*/ 343987 w 343986"/>
              <a:gd name="connsiteY7" fmla="*/ 41873 h 516958"/>
              <a:gd name="connsiteX8" fmla="*/ 343987 w 343986"/>
              <a:gd name="connsiteY8" fmla="*/ 23872 h 516958"/>
              <a:gd name="connsiteX9" fmla="*/ 322854 w 343986"/>
              <a:gd name="connsiteY9" fmla="*/ 0 h 516958"/>
              <a:gd name="connsiteX10" fmla="*/ 16436 w 343986"/>
              <a:gd name="connsiteY10" fmla="*/ 0 h 516958"/>
              <a:gd name="connsiteX11" fmla="*/ 0 w 343986"/>
              <a:gd name="connsiteY11" fmla="*/ 22306 h 516958"/>
              <a:gd name="connsiteX12" fmla="*/ 0 w 343986"/>
              <a:gd name="connsiteY12" fmla="*/ 41873 h 516958"/>
              <a:gd name="connsiteX13" fmla="*/ 19176 w 343986"/>
              <a:gd name="connsiteY13" fmla="*/ 41873 h 516958"/>
              <a:gd name="connsiteX14" fmla="*/ 19176 w 343986"/>
              <a:gd name="connsiteY14" fmla="*/ 234803 h 516958"/>
              <a:gd name="connsiteX15" fmla="*/ 0 w 343986"/>
              <a:gd name="connsiteY15" fmla="*/ 234803 h 516958"/>
              <a:gd name="connsiteX16" fmla="*/ 0 w 343986"/>
              <a:gd name="connsiteY16" fmla="*/ 276676 h 516958"/>
              <a:gd name="connsiteX17" fmla="*/ 19176 w 343986"/>
              <a:gd name="connsiteY17" fmla="*/ 276676 h 516958"/>
              <a:gd name="connsiteX18" fmla="*/ 19176 w 343986"/>
              <a:gd name="connsiteY18" fmla="*/ 475085 h 516958"/>
              <a:gd name="connsiteX19" fmla="*/ 0 w 343986"/>
              <a:gd name="connsiteY19" fmla="*/ 475085 h 516958"/>
              <a:gd name="connsiteX20" fmla="*/ 0 w 343986"/>
              <a:gd name="connsiteY20" fmla="*/ 497392 h 516958"/>
              <a:gd name="connsiteX21" fmla="*/ 19176 w 343986"/>
              <a:gd name="connsiteY21" fmla="*/ 516959 h 516958"/>
              <a:gd name="connsiteX22" fmla="*/ 201931 w 343986"/>
              <a:gd name="connsiteY22" fmla="*/ 516959 h 516958"/>
              <a:gd name="connsiteX23" fmla="*/ 223846 w 343986"/>
              <a:gd name="connsiteY23" fmla="*/ 335769 h 516958"/>
              <a:gd name="connsiteX24" fmla="*/ 304070 w 343986"/>
              <a:gd name="connsiteY24" fmla="*/ 308375 h 516958"/>
              <a:gd name="connsiteX25" fmla="*/ 131490 w 343986"/>
              <a:gd name="connsiteY25" fmla="*/ 206627 h 516958"/>
              <a:gd name="connsiteX26" fmla="*/ 175320 w 343986"/>
              <a:gd name="connsiteY26" fmla="*/ 118576 h 516958"/>
              <a:gd name="connsiteX27" fmla="*/ 219150 w 343986"/>
              <a:gd name="connsiteY27" fmla="*/ 206627 h 516958"/>
              <a:gd name="connsiteX28" fmla="*/ 176494 w 343986"/>
              <a:gd name="connsiteY28" fmla="*/ 251631 h 516958"/>
              <a:gd name="connsiteX29" fmla="*/ 131490 w 343986"/>
              <a:gd name="connsiteY29" fmla="*/ 208975 h 516958"/>
              <a:gd name="connsiteX30" fmla="*/ 131490 w 343986"/>
              <a:gd name="connsiteY30" fmla="*/ 206627 h 516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43986" h="516958">
                <a:moveTo>
                  <a:pt x="304070" y="308375"/>
                </a:moveTo>
                <a:cubicBezTo>
                  <a:pt x="311114" y="308375"/>
                  <a:pt x="318158" y="308766"/>
                  <a:pt x="324811" y="309940"/>
                </a:cubicBezTo>
                <a:lnTo>
                  <a:pt x="324811" y="276676"/>
                </a:lnTo>
                <a:lnTo>
                  <a:pt x="343987" y="276676"/>
                </a:lnTo>
                <a:lnTo>
                  <a:pt x="343987" y="234803"/>
                </a:lnTo>
                <a:lnTo>
                  <a:pt x="324811" y="234803"/>
                </a:lnTo>
                <a:lnTo>
                  <a:pt x="324811" y="41873"/>
                </a:lnTo>
                <a:lnTo>
                  <a:pt x="343987" y="41873"/>
                </a:lnTo>
                <a:lnTo>
                  <a:pt x="343987" y="23872"/>
                </a:lnTo>
                <a:lnTo>
                  <a:pt x="322854" y="0"/>
                </a:lnTo>
                <a:lnTo>
                  <a:pt x="16436" y="0"/>
                </a:lnTo>
                <a:lnTo>
                  <a:pt x="0" y="22306"/>
                </a:lnTo>
                <a:lnTo>
                  <a:pt x="0" y="41873"/>
                </a:lnTo>
                <a:lnTo>
                  <a:pt x="19176" y="41873"/>
                </a:lnTo>
                <a:lnTo>
                  <a:pt x="19176" y="234803"/>
                </a:lnTo>
                <a:lnTo>
                  <a:pt x="0" y="234803"/>
                </a:lnTo>
                <a:lnTo>
                  <a:pt x="0" y="276676"/>
                </a:lnTo>
                <a:lnTo>
                  <a:pt x="19176" y="276676"/>
                </a:lnTo>
                <a:lnTo>
                  <a:pt x="19176" y="475085"/>
                </a:lnTo>
                <a:lnTo>
                  <a:pt x="0" y="475085"/>
                </a:lnTo>
                <a:lnTo>
                  <a:pt x="0" y="497392"/>
                </a:lnTo>
                <a:lnTo>
                  <a:pt x="19176" y="516959"/>
                </a:lnTo>
                <a:lnTo>
                  <a:pt x="201931" y="516959"/>
                </a:lnTo>
                <a:cubicBezTo>
                  <a:pt x="157710" y="460997"/>
                  <a:pt x="167493" y="379599"/>
                  <a:pt x="223846" y="335769"/>
                </a:cubicBezTo>
                <a:cubicBezTo>
                  <a:pt x="246543" y="318158"/>
                  <a:pt x="275111" y="308375"/>
                  <a:pt x="304070" y="308375"/>
                </a:cubicBezTo>
                <a:close/>
                <a:moveTo>
                  <a:pt x="131490" y="206627"/>
                </a:moveTo>
                <a:cubicBezTo>
                  <a:pt x="131490" y="174928"/>
                  <a:pt x="175320" y="118576"/>
                  <a:pt x="175320" y="118576"/>
                </a:cubicBezTo>
                <a:cubicBezTo>
                  <a:pt x="175320" y="118576"/>
                  <a:pt x="219150" y="174928"/>
                  <a:pt x="219150" y="206627"/>
                </a:cubicBezTo>
                <a:cubicBezTo>
                  <a:pt x="219932" y="230890"/>
                  <a:pt x="200757" y="251239"/>
                  <a:pt x="176494" y="251631"/>
                </a:cubicBezTo>
                <a:cubicBezTo>
                  <a:pt x="152231" y="252413"/>
                  <a:pt x="131881" y="233238"/>
                  <a:pt x="131490" y="208975"/>
                </a:cubicBezTo>
                <a:cubicBezTo>
                  <a:pt x="131490" y="208192"/>
                  <a:pt x="131490" y="207410"/>
                  <a:pt x="131490" y="206627"/>
                </a:cubicBezTo>
                <a:close/>
              </a:path>
            </a:pathLst>
          </a:custGeom>
          <a:solidFill>
            <a:srgbClr val="4D4D4D"/>
          </a:solidFill>
          <a:ln w="389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001E3B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21ECD0A5-0B31-B313-2576-23BBB1BF88E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216962" y="4419798"/>
            <a:ext cx="713623" cy="713623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DF3E6808-4F09-F3D4-99D9-B713DE3C39C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017850" y="4507331"/>
            <a:ext cx="698046" cy="698046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1218931C-6919-1D9C-C22D-FDADCA3ACA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03162" y="4469482"/>
            <a:ext cx="701788" cy="70178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A29DF54B-C731-E006-F196-8D3AC0C6B627}"/>
              </a:ext>
            </a:extLst>
          </p:cNvPr>
          <p:cNvSpPr/>
          <p:nvPr/>
        </p:nvSpPr>
        <p:spPr>
          <a:xfrm>
            <a:off x="1377343" y="4904717"/>
            <a:ext cx="137680" cy="192422"/>
          </a:xfrm>
          <a:prstGeom prst="ellipse">
            <a:avLst/>
          </a:prstGeom>
          <a:solidFill>
            <a:srgbClr val="4D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A9126D9-8332-DED5-9FEE-566ADC31DB9C}"/>
              </a:ext>
            </a:extLst>
          </p:cNvPr>
          <p:cNvGrpSpPr/>
          <p:nvPr/>
        </p:nvGrpSpPr>
        <p:grpSpPr>
          <a:xfrm>
            <a:off x="9059426" y="4675606"/>
            <a:ext cx="856837" cy="352662"/>
            <a:chOff x="7791257" y="4675606"/>
            <a:chExt cx="3253833" cy="352662"/>
          </a:xfrm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4721F1B-DAFB-62CC-4340-904ADD2CEAF4}"/>
                </a:ext>
              </a:extLst>
            </p:cNvPr>
            <p:cNvSpPr/>
            <p:nvPr/>
          </p:nvSpPr>
          <p:spPr>
            <a:xfrm>
              <a:off x="7791257" y="4997333"/>
              <a:ext cx="3253833" cy="30935"/>
            </a:xfrm>
            <a:custGeom>
              <a:avLst/>
              <a:gdLst>
                <a:gd name="connsiteX0" fmla="*/ 0 w 3253833"/>
                <a:gd name="connsiteY0" fmla="*/ 0 h 30935"/>
                <a:gd name="connsiteX1" fmla="*/ 3253833 w 3253833"/>
                <a:gd name="connsiteY1" fmla="*/ 0 h 30935"/>
                <a:gd name="connsiteX2" fmla="*/ 3253833 w 3253833"/>
                <a:gd name="connsiteY2" fmla="*/ 30935 h 30935"/>
                <a:gd name="connsiteX3" fmla="*/ 0 w 3253833"/>
                <a:gd name="connsiteY3" fmla="*/ 30935 h 3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3833" h="30935">
                  <a:moveTo>
                    <a:pt x="0" y="0"/>
                  </a:moveTo>
                  <a:lnTo>
                    <a:pt x="3253833" y="0"/>
                  </a:lnTo>
                  <a:lnTo>
                    <a:pt x="3253833" y="30935"/>
                  </a:lnTo>
                  <a:lnTo>
                    <a:pt x="0" y="30935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F391F3D-3D43-C92D-CB4A-B81DB1CF7725}"/>
                </a:ext>
              </a:extLst>
            </p:cNvPr>
            <p:cNvSpPr/>
            <p:nvPr/>
          </p:nvSpPr>
          <p:spPr>
            <a:xfrm>
              <a:off x="8053033" y="4769443"/>
              <a:ext cx="576000" cy="45371"/>
            </a:xfrm>
            <a:custGeom>
              <a:avLst/>
              <a:gdLst>
                <a:gd name="connsiteX0" fmla="*/ 955254 w 1024142"/>
                <a:gd name="connsiteY0" fmla="*/ 0 h 45371"/>
                <a:gd name="connsiteX1" fmla="*/ 71185 w 1024142"/>
                <a:gd name="connsiteY1" fmla="*/ 0 h 45371"/>
                <a:gd name="connsiteX2" fmla="*/ 0 w 1024142"/>
                <a:gd name="connsiteY2" fmla="*/ 45372 h 45371"/>
                <a:gd name="connsiteX3" fmla="*/ 1024142 w 1024142"/>
                <a:gd name="connsiteY3" fmla="*/ 45372 h 45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4142" h="45371">
                  <a:moveTo>
                    <a:pt x="955254" y="0"/>
                  </a:moveTo>
                  <a:lnTo>
                    <a:pt x="71185" y="0"/>
                  </a:lnTo>
                  <a:lnTo>
                    <a:pt x="0" y="45372"/>
                  </a:lnTo>
                  <a:lnTo>
                    <a:pt x="1024142" y="45372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6A70486-30C5-29AE-96B0-849279D03CC0}"/>
                </a:ext>
              </a:extLst>
            </p:cNvPr>
            <p:cNvSpPr/>
            <p:nvPr/>
          </p:nvSpPr>
          <p:spPr>
            <a:xfrm>
              <a:off x="8150074" y="4678700"/>
              <a:ext cx="396000" cy="45887"/>
            </a:xfrm>
            <a:custGeom>
              <a:avLst/>
              <a:gdLst>
                <a:gd name="connsiteX0" fmla="*/ 672811 w 746292"/>
                <a:gd name="connsiteY0" fmla="*/ 0 h 45887"/>
                <a:gd name="connsiteX1" fmla="*/ 71185 w 746292"/>
                <a:gd name="connsiteY1" fmla="*/ 0 h 45887"/>
                <a:gd name="connsiteX2" fmla="*/ 0 w 746292"/>
                <a:gd name="connsiteY2" fmla="*/ 45887 h 45887"/>
                <a:gd name="connsiteX3" fmla="*/ 746292 w 746292"/>
                <a:gd name="connsiteY3" fmla="*/ 45887 h 45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6292" h="45887">
                  <a:moveTo>
                    <a:pt x="672811" y="0"/>
                  </a:moveTo>
                  <a:lnTo>
                    <a:pt x="71185" y="0"/>
                  </a:lnTo>
                  <a:lnTo>
                    <a:pt x="0" y="45887"/>
                  </a:lnTo>
                  <a:lnTo>
                    <a:pt x="746292" y="45887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AB3F2574-D994-4BF2-3F27-F87764DAD8F9}"/>
                </a:ext>
              </a:extLst>
            </p:cNvPr>
            <p:cNvSpPr/>
            <p:nvPr/>
          </p:nvSpPr>
          <p:spPr>
            <a:xfrm>
              <a:off x="9952059" y="4780786"/>
              <a:ext cx="293924" cy="38669"/>
            </a:xfrm>
            <a:custGeom>
              <a:avLst/>
              <a:gdLst>
                <a:gd name="connsiteX0" fmla="*/ 0 w 293924"/>
                <a:gd name="connsiteY0" fmla="*/ 0 h 38669"/>
                <a:gd name="connsiteX1" fmla="*/ 293924 w 293924"/>
                <a:gd name="connsiteY1" fmla="*/ 0 h 38669"/>
                <a:gd name="connsiteX2" fmla="*/ 293924 w 293924"/>
                <a:gd name="connsiteY2" fmla="*/ 38669 h 38669"/>
                <a:gd name="connsiteX3" fmla="*/ 0 w 293924"/>
                <a:gd name="connsiteY3" fmla="*/ 38669 h 38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924" h="38669">
                  <a:moveTo>
                    <a:pt x="0" y="0"/>
                  </a:moveTo>
                  <a:lnTo>
                    <a:pt x="293924" y="0"/>
                  </a:lnTo>
                  <a:lnTo>
                    <a:pt x="293924" y="38669"/>
                  </a:lnTo>
                  <a:lnTo>
                    <a:pt x="0" y="38669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5B6BFFDF-CE12-CC45-B7D5-87AC34F76420}"/>
                </a:ext>
              </a:extLst>
            </p:cNvPr>
            <p:cNvSpPr/>
            <p:nvPr/>
          </p:nvSpPr>
          <p:spPr>
            <a:xfrm>
              <a:off x="9609913" y="4780786"/>
              <a:ext cx="287035" cy="38669"/>
            </a:xfrm>
            <a:custGeom>
              <a:avLst/>
              <a:gdLst>
                <a:gd name="connsiteX0" fmla="*/ 0 w 287035"/>
                <a:gd name="connsiteY0" fmla="*/ 0 h 38669"/>
                <a:gd name="connsiteX1" fmla="*/ 287035 w 287035"/>
                <a:gd name="connsiteY1" fmla="*/ 0 h 38669"/>
                <a:gd name="connsiteX2" fmla="*/ 287035 w 287035"/>
                <a:gd name="connsiteY2" fmla="*/ 38669 h 38669"/>
                <a:gd name="connsiteX3" fmla="*/ 0 w 287035"/>
                <a:gd name="connsiteY3" fmla="*/ 38669 h 38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35" h="38669">
                  <a:moveTo>
                    <a:pt x="0" y="0"/>
                  </a:moveTo>
                  <a:lnTo>
                    <a:pt x="287035" y="0"/>
                  </a:lnTo>
                  <a:lnTo>
                    <a:pt x="287035" y="38669"/>
                  </a:lnTo>
                  <a:lnTo>
                    <a:pt x="0" y="38669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C67A82D-FA60-C912-B1D8-12F5159BB9D2}"/>
                </a:ext>
              </a:extLst>
            </p:cNvPr>
            <p:cNvSpPr/>
            <p:nvPr/>
          </p:nvSpPr>
          <p:spPr>
            <a:xfrm>
              <a:off x="9251693" y="4780786"/>
              <a:ext cx="300813" cy="38669"/>
            </a:xfrm>
            <a:custGeom>
              <a:avLst/>
              <a:gdLst>
                <a:gd name="connsiteX0" fmla="*/ 0 w 300813"/>
                <a:gd name="connsiteY0" fmla="*/ 0 h 38669"/>
                <a:gd name="connsiteX1" fmla="*/ 300813 w 300813"/>
                <a:gd name="connsiteY1" fmla="*/ 0 h 38669"/>
                <a:gd name="connsiteX2" fmla="*/ 300813 w 300813"/>
                <a:gd name="connsiteY2" fmla="*/ 38669 h 38669"/>
                <a:gd name="connsiteX3" fmla="*/ 0 w 300813"/>
                <a:gd name="connsiteY3" fmla="*/ 38669 h 38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813" h="38669">
                  <a:moveTo>
                    <a:pt x="0" y="0"/>
                  </a:moveTo>
                  <a:lnTo>
                    <a:pt x="300813" y="0"/>
                  </a:lnTo>
                  <a:lnTo>
                    <a:pt x="300813" y="38669"/>
                  </a:lnTo>
                  <a:lnTo>
                    <a:pt x="0" y="38669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152BD97-4D63-3851-2608-6E9A86C049AE}"/>
                </a:ext>
              </a:extLst>
            </p:cNvPr>
            <p:cNvSpPr/>
            <p:nvPr/>
          </p:nvSpPr>
          <p:spPr>
            <a:xfrm>
              <a:off x="8062218" y="4831829"/>
              <a:ext cx="2900205" cy="120131"/>
            </a:xfrm>
            <a:custGeom>
              <a:avLst/>
              <a:gdLst>
                <a:gd name="connsiteX0" fmla="*/ 130888 w 2900205"/>
                <a:gd name="connsiteY0" fmla="*/ 120132 h 120131"/>
                <a:gd name="connsiteX1" fmla="*/ 2502949 w 2900205"/>
                <a:gd name="connsiteY1" fmla="*/ 120132 h 120131"/>
                <a:gd name="connsiteX2" fmla="*/ 2509838 w 2900205"/>
                <a:gd name="connsiteY2" fmla="*/ 114976 h 120131"/>
                <a:gd name="connsiteX3" fmla="*/ 2900206 w 2900205"/>
                <a:gd name="connsiteY3" fmla="*/ 0 h 120131"/>
                <a:gd name="connsiteX4" fmla="*/ 1889841 w 2900205"/>
                <a:gd name="connsiteY4" fmla="*/ 0 h 120131"/>
                <a:gd name="connsiteX5" fmla="*/ 1889841 w 2900205"/>
                <a:gd name="connsiteY5" fmla="*/ 28873 h 120131"/>
                <a:gd name="connsiteX6" fmla="*/ 1834730 w 2900205"/>
                <a:gd name="connsiteY6" fmla="*/ 28873 h 120131"/>
                <a:gd name="connsiteX7" fmla="*/ 1834730 w 2900205"/>
                <a:gd name="connsiteY7" fmla="*/ 0 h 120131"/>
                <a:gd name="connsiteX8" fmla="*/ 1547695 w 2900205"/>
                <a:gd name="connsiteY8" fmla="*/ 0 h 120131"/>
                <a:gd name="connsiteX9" fmla="*/ 1547695 w 2900205"/>
                <a:gd name="connsiteY9" fmla="*/ 28873 h 120131"/>
                <a:gd name="connsiteX10" fmla="*/ 1490288 w 2900205"/>
                <a:gd name="connsiteY10" fmla="*/ 28873 h 120131"/>
                <a:gd name="connsiteX11" fmla="*/ 1490288 w 2900205"/>
                <a:gd name="connsiteY11" fmla="*/ 0 h 120131"/>
                <a:gd name="connsiteX12" fmla="*/ 1189475 w 2900205"/>
                <a:gd name="connsiteY12" fmla="*/ 0 h 120131"/>
                <a:gd name="connsiteX13" fmla="*/ 1189475 w 2900205"/>
                <a:gd name="connsiteY13" fmla="*/ 28873 h 120131"/>
                <a:gd name="connsiteX14" fmla="*/ 0 w 2900205"/>
                <a:gd name="connsiteY14" fmla="*/ 28873 h 120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00205" h="120131">
                  <a:moveTo>
                    <a:pt x="130888" y="120132"/>
                  </a:moveTo>
                  <a:lnTo>
                    <a:pt x="2502949" y="120132"/>
                  </a:lnTo>
                  <a:lnTo>
                    <a:pt x="2509838" y="114976"/>
                  </a:lnTo>
                  <a:lnTo>
                    <a:pt x="2900206" y="0"/>
                  </a:lnTo>
                  <a:lnTo>
                    <a:pt x="1889841" y="0"/>
                  </a:lnTo>
                  <a:lnTo>
                    <a:pt x="1889841" y="28873"/>
                  </a:lnTo>
                  <a:lnTo>
                    <a:pt x="1834730" y="28873"/>
                  </a:lnTo>
                  <a:lnTo>
                    <a:pt x="1834730" y="0"/>
                  </a:lnTo>
                  <a:lnTo>
                    <a:pt x="1547695" y="0"/>
                  </a:lnTo>
                  <a:lnTo>
                    <a:pt x="1547695" y="28873"/>
                  </a:lnTo>
                  <a:lnTo>
                    <a:pt x="1490288" y="28873"/>
                  </a:lnTo>
                  <a:lnTo>
                    <a:pt x="1490288" y="0"/>
                  </a:lnTo>
                  <a:lnTo>
                    <a:pt x="1189475" y="0"/>
                  </a:lnTo>
                  <a:lnTo>
                    <a:pt x="1189475" y="28873"/>
                  </a:lnTo>
                  <a:lnTo>
                    <a:pt x="0" y="28873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D141B6D2-270F-BC10-83DE-0487E3926185}"/>
                </a:ext>
              </a:extLst>
            </p:cNvPr>
            <p:cNvSpPr/>
            <p:nvPr/>
          </p:nvSpPr>
          <p:spPr>
            <a:xfrm>
              <a:off x="10303390" y="4780786"/>
              <a:ext cx="287035" cy="38669"/>
            </a:xfrm>
            <a:custGeom>
              <a:avLst/>
              <a:gdLst>
                <a:gd name="connsiteX0" fmla="*/ 0 w 287035"/>
                <a:gd name="connsiteY0" fmla="*/ 0 h 38669"/>
                <a:gd name="connsiteX1" fmla="*/ 287035 w 287035"/>
                <a:gd name="connsiteY1" fmla="*/ 0 h 38669"/>
                <a:gd name="connsiteX2" fmla="*/ 287035 w 287035"/>
                <a:gd name="connsiteY2" fmla="*/ 38669 h 38669"/>
                <a:gd name="connsiteX3" fmla="*/ 0 w 287035"/>
                <a:gd name="connsiteY3" fmla="*/ 38669 h 38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35" h="38669">
                  <a:moveTo>
                    <a:pt x="0" y="0"/>
                  </a:moveTo>
                  <a:lnTo>
                    <a:pt x="287035" y="0"/>
                  </a:lnTo>
                  <a:lnTo>
                    <a:pt x="287035" y="38669"/>
                  </a:lnTo>
                  <a:lnTo>
                    <a:pt x="0" y="38669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A61B375-E0CF-3A05-2D5E-9AB9120750FA}"/>
                </a:ext>
              </a:extLst>
            </p:cNvPr>
            <p:cNvSpPr/>
            <p:nvPr/>
          </p:nvSpPr>
          <p:spPr>
            <a:xfrm>
              <a:off x="9952059" y="4675606"/>
              <a:ext cx="293924" cy="39700"/>
            </a:xfrm>
            <a:custGeom>
              <a:avLst/>
              <a:gdLst>
                <a:gd name="connsiteX0" fmla="*/ 0 w 293924"/>
                <a:gd name="connsiteY0" fmla="*/ 0 h 39700"/>
                <a:gd name="connsiteX1" fmla="*/ 293924 w 293924"/>
                <a:gd name="connsiteY1" fmla="*/ 0 h 39700"/>
                <a:gd name="connsiteX2" fmla="*/ 293924 w 293924"/>
                <a:gd name="connsiteY2" fmla="*/ 39700 h 39700"/>
                <a:gd name="connsiteX3" fmla="*/ 0 w 293924"/>
                <a:gd name="connsiteY3" fmla="*/ 39700 h 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924" h="39700">
                  <a:moveTo>
                    <a:pt x="0" y="0"/>
                  </a:moveTo>
                  <a:lnTo>
                    <a:pt x="293924" y="0"/>
                  </a:lnTo>
                  <a:lnTo>
                    <a:pt x="293924" y="39700"/>
                  </a:lnTo>
                  <a:lnTo>
                    <a:pt x="0" y="39700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4C45613-7AB8-E915-F1E0-1729253EA35D}"/>
                </a:ext>
              </a:extLst>
            </p:cNvPr>
            <p:cNvSpPr/>
            <p:nvPr/>
          </p:nvSpPr>
          <p:spPr>
            <a:xfrm>
              <a:off x="10303390" y="4675606"/>
              <a:ext cx="287035" cy="39700"/>
            </a:xfrm>
            <a:custGeom>
              <a:avLst/>
              <a:gdLst>
                <a:gd name="connsiteX0" fmla="*/ 0 w 287035"/>
                <a:gd name="connsiteY0" fmla="*/ 0 h 39700"/>
                <a:gd name="connsiteX1" fmla="*/ 287035 w 287035"/>
                <a:gd name="connsiteY1" fmla="*/ 0 h 39700"/>
                <a:gd name="connsiteX2" fmla="*/ 287035 w 287035"/>
                <a:gd name="connsiteY2" fmla="*/ 39700 h 39700"/>
                <a:gd name="connsiteX3" fmla="*/ 0 w 287035"/>
                <a:gd name="connsiteY3" fmla="*/ 39700 h 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35" h="39700">
                  <a:moveTo>
                    <a:pt x="0" y="0"/>
                  </a:moveTo>
                  <a:lnTo>
                    <a:pt x="287035" y="0"/>
                  </a:lnTo>
                  <a:lnTo>
                    <a:pt x="287035" y="39700"/>
                  </a:lnTo>
                  <a:lnTo>
                    <a:pt x="0" y="39700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738FC7B-D5AC-81BF-D546-38CA2CE9750B}"/>
                </a:ext>
              </a:extLst>
            </p:cNvPr>
            <p:cNvSpPr/>
            <p:nvPr/>
          </p:nvSpPr>
          <p:spPr>
            <a:xfrm>
              <a:off x="9609913" y="4675606"/>
              <a:ext cx="287035" cy="39700"/>
            </a:xfrm>
            <a:custGeom>
              <a:avLst/>
              <a:gdLst>
                <a:gd name="connsiteX0" fmla="*/ 0 w 287035"/>
                <a:gd name="connsiteY0" fmla="*/ 0 h 39700"/>
                <a:gd name="connsiteX1" fmla="*/ 287035 w 287035"/>
                <a:gd name="connsiteY1" fmla="*/ 0 h 39700"/>
                <a:gd name="connsiteX2" fmla="*/ 287035 w 287035"/>
                <a:gd name="connsiteY2" fmla="*/ 39700 h 39700"/>
                <a:gd name="connsiteX3" fmla="*/ 0 w 287035"/>
                <a:gd name="connsiteY3" fmla="*/ 39700 h 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35" h="39700">
                  <a:moveTo>
                    <a:pt x="0" y="0"/>
                  </a:moveTo>
                  <a:lnTo>
                    <a:pt x="287035" y="0"/>
                  </a:lnTo>
                  <a:lnTo>
                    <a:pt x="287035" y="39700"/>
                  </a:lnTo>
                  <a:lnTo>
                    <a:pt x="0" y="39700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797388B5-CC91-6543-384D-309F9B3038D9}"/>
                </a:ext>
              </a:extLst>
            </p:cNvPr>
            <p:cNvSpPr/>
            <p:nvPr/>
          </p:nvSpPr>
          <p:spPr>
            <a:xfrm>
              <a:off x="9609913" y="4727680"/>
              <a:ext cx="287035" cy="40215"/>
            </a:xfrm>
            <a:custGeom>
              <a:avLst/>
              <a:gdLst>
                <a:gd name="connsiteX0" fmla="*/ 0 w 287035"/>
                <a:gd name="connsiteY0" fmla="*/ 0 h 40215"/>
                <a:gd name="connsiteX1" fmla="*/ 287035 w 287035"/>
                <a:gd name="connsiteY1" fmla="*/ 0 h 40215"/>
                <a:gd name="connsiteX2" fmla="*/ 287035 w 287035"/>
                <a:gd name="connsiteY2" fmla="*/ 40216 h 40215"/>
                <a:gd name="connsiteX3" fmla="*/ 0 w 287035"/>
                <a:gd name="connsiteY3" fmla="*/ 40216 h 40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35" h="40215">
                  <a:moveTo>
                    <a:pt x="0" y="0"/>
                  </a:moveTo>
                  <a:lnTo>
                    <a:pt x="287035" y="0"/>
                  </a:lnTo>
                  <a:lnTo>
                    <a:pt x="287035" y="40216"/>
                  </a:lnTo>
                  <a:lnTo>
                    <a:pt x="0" y="40216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6DB0BA1-0BE4-7531-ACAE-6A7C96020ADC}"/>
                </a:ext>
              </a:extLst>
            </p:cNvPr>
            <p:cNvSpPr/>
            <p:nvPr/>
          </p:nvSpPr>
          <p:spPr>
            <a:xfrm>
              <a:off x="9952059" y="4727680"/>
              <a:ext cx="293924" cy="40215"/>
            </a:xfrm>
            <a:custGeom>
              <a:avLst/>
              <a:gdLst>
                <a:gd name="connsiteX0" fmla="*/ 0 w 293924"/>
                <a:gd name="connsiteY0" fmla="*/ 0 h 40215"/>
                <a:gd name="connsiteX1" fmla="*/ 293924 w 293924"/>
                <a:gd name="connsiteY1" fmla="*/ 0 h 40215"/>
                <a:gd name="connsiteX2" fmla="*/ 293924 w 293924"/>
                <a:gd name="connsiteY2" fmla="*/ 40216 h 40215"/>
                <a:gd name="connsiteX3" fmla="*/ 0 w 293924"/>
                <a:gd name="connsiteY3" fmla="*/ 40216 h 40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3924" h="40215">
                  <a:moveTo>
                    <a:pt x="0" y="0"/>
                  </a:moveTo>
                  <a:lnTo>
                    <a:pt x="293924" y="0"/>
                  </a:lnTo>
                  <a:lnTo>
                    <a:pt x="293924" y="40216"/>
                  </a:lnTo>
                  <a:lnTo>
                    <a:pt x="0" y="40216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11F39707-D5A2-4E41-90E4-13B9103416FF}"/>
                </a:ext>
              </a:extLst>
            </p:cNvPr>
            <p:cNvSpPr/>
            <p:nvPr/>
          </p:nvSpPr>
          <p:spPr>
            <a:xfrm>
              <a:off x="9251693" y="4675606"/>
              <a:ext cx="300813" cy="39700"/>
            </a:xfrm>
            <a:custGeom>
              <a:avLst/>
              <a:gdLst>
                <a:gd name="connsiteX0" fmla="*/ 0 w 300813"/>
                <a:gd name="connsiteY0" fmla="*/ 0 h 39700"/>
                <a:gd name="connsiteX1" fmla="*/ 300813 w 300813"/>
                <a:gd name="connsiteY1" fmla="*/ 0 h 39700"/>
                <a:gd name="connsiteX2" fmla="*/ 300813 w 300813"/>
                <a:gd name="connsiteY2" fmla="*/ 39700 h 39700"/>
                <a:gd name="connsiteX3" fmla="*/ 0 w 300813"/>
                <a:gd name="connsiteY3" fmla="*/ 39700 h 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813" h="39700">
                  <a:moveTo>
                    <a:pt x="0" y="0"/>
                  </a:moveTo>
                  <a:lnTo>
                    <a:pt x="300813" y="0"/>
                  </a:lnTo>
                  <a:lnTo>
                    <a:pt x="300813" y="39700"/>
                  </a:lnTo>
                  <a:lnTo>
                    <a:pt x="0" y="39700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0B6376DD-F00F-CE83-CF5B-735B5C73988F}"/>
                </a:ext>
              </a:extLst>
            </p:cNvPr>
            <p:cNvSpPr/>
            <p:nvPr/>
          </p:nvSpPr>
          <p:spPr>
            <a:xfrm>
              <a:off x="10303390" y="4727680"/>
              <a:ext cx="287035" cy="40215"/>
            </a:xfrm>
            <a:custGeom>
              <a:avLst/>
              <a:gdLst>
                <a:gd name="connsiteX0" fmla="*/ 0 w 287035"/>
                <a:gd name="connsiteY0" fmla="*/ 0 h 40215"/>
                <a:gd name="connsiteX1" fmla="*/ 287035 w 287035"/>
                <a:gd name="connsiteY1" fmla="*/ 0 h 40215"/>
                <a:gd name="connsiteX2" fmla="*/ 287035 w 287035"/>
                <a:gd name="connsiteY2" fmla="*/ 40216 h 40215"/>
                <a:gd name="connsiteX3" fmla="*/ 0 w 287035"/>
                <a:gd name="connsiteY3" fmla="*/ 40216 h 40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7035" h="40215">
                  <a:moveTo>
                    <a:pt x="0" y="0"/>
                  </a:moveTo>
                  <a:lnTo>
                    <a:pt x="287035" y="0"/>
                  </a:lnTo>
                  <a:lnTo>
                    <a:pt x="287035" y="40216"/>
                  </a:lnTo>
                  <a:lnTo>
                    <a:pt x="0" y="40216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80FE0AB7-AAA1-C757-BB34-E0BFA32732E4}"/>
                </a:ext>
              </a:extLst>
            </p:cNvPr>
            <p:cNvSpPr/>
            <p:nvPr/>
          </p:nvSpPr>
          <p:spPr>
            <a:xfrm>
              <a:off x="9251693" y="4727680"/>
              <a:ext cx="300813" cy="40215"/>
            </a:xfrm>
            <a:custGeom>
              <a:avLst/>
              <a:gdLst>
                <a:gd name="connsiteX0" fmla="*/ 0 w 300813"/>
                <a:gd name="connsiteY0" fmla="*/ 0 h 40215"/>
                <a:gd name="connsiteX1" fmla="*/ 300813 w 300813"/>
                <a:gd name="connsiteY1" fmla="*/ 0 h 40215"/>
                <a:gd name="connsiteX2" fmla="*/ 300813 w 300813"/>
                <a:gd name="connsiteY2" fmla="*/ 40216 h 40215"/>
                <a:gd name="connsiteX3" fmla="*/ 0 w 300813"/>
                <a:gd name="connsiteY3" fmla="*/ 40216 h 40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0813" h="40215">
                  <a:moveTo>
                    <a:pt x="0" y="0"/>
                  </a:moveTo>
                  <a:lnTo>
                    <a:pt x="300813" y="0"/>
                  </a:lnTo>
                  <a:lnTo>
                    <a:pt x="300813" y="40216"/>
                  </a:lnTo>
                  <a:lnTo>
                    <a:pt x="0" y="40216"/>
                  </a:lnTo>
                  <a:close/>
                </a:path>
              </a:pathLst>
            </a:custGeom>
            <a:solidFill>
              <a:srgbClr val="4D4D4D"/>
            </a:solidFill>
            <a:ln w="2294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FD1BC4B1-C937-8021-571E-01448FC5D7CF}"/>
              </a:ext>
            </a:extLst>
          </p:cNvPr>
          <p:cNvSpPr txBox="1"/>
          <p:nvPr/>
        </p:nvSpPr>
        <p:spPr>
          <a:xfrm>
            <a:off x="573995" y="5205377"/>
            <a:ext cx="914400" cy="221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Raw material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1E3B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FA7A7D7-C421-B546-8B6E-3FF6E9397C2E}"/>
              </a:ext>
            </a:extLst>
          </p:cNvPr>
          <p:cNvSpPr txBox="1"/>
          <p:nvPr/>
        </p:nvSpPr>
        <p:spPr>
          <a:xfrm>
            <a:off x="2167297" y="5205377"/>
            <a:ext cx="914400" cy="221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Fuel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prodictio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D67656D-86FA-DC2C-FD0F-358F89897B9A}"/>
              </a:ext>
            </a:extLst>
          </p:cNvPr>
          <p:cNvSpPr txBox="1"/>
          <p:nvPr/>
        </p:nvSpPr>
        <p:spPr>
          <a:xfrm>
            <a:off x="3957532" y="5205377"/>
            <a:ext cx="914400" cy="221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Transportatio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and storage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1E3B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17D6A4E-4D21-22CB-CA7B-670E44DEB30F}"/>
              </a:ext>
            </a:extLst>
          </p:cNvPr>
          <p:cNvSpPr txBox="1"/>
          <p:nvPr/>
        </p:nvSpPr>
        <p:spPr>
          <a:xfrm>
            <a:off x="5764437" y="5205377"/>
            <a:ext cx="914400" cy="221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Bunkering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6ACCF18-D9A8-ADCF-55DB-03AFD658DD94}"/>
              </a:ext>
            </a:extLst>
          </p:cNvPr>
          <p:cNvSpPr txBox="1"/>
          <p:nvPr/>
        </p:nvSpPr>
        <p:spPr>
          <a:xfrm>
            <a:off x="7791257" y="5205377"/>
            <a:ext cx="914400" cy="221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Storage on-</a:t>
            </a:r>
            <a:b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</a:b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boar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15D4A03-12B4-04A7-7C24-99EFEEBE6D14}"/>
              </a:ext>
            </a:extLst>
          </p:cNvPr>
          <p:cNvSpPr txBox="1"/>
          <p:nvPr/>
        </p:nvSpPr>
        <p:spPr>
          <a:xfrm>
            <a:off x="8941360" y="5205377"/>
            <a:ext cx="914400" cy="221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Energy conversi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3841F94D-7417-1675-3025-9B2854248B78}"/>
              </a:ext>
            </a:extLst>
          </p:cNvPr>
          <p:cNvSpPr txBox="1"/>
          <p:nvPr/>
        </p:nvSpPr>
        <p:spPr>
          <a:xfrm>
            <a:off x="10380445" y="5205377"/>
            <a:ext cx="914400" cy="22161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Energy </a:t>
            </a: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transfer 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1E3B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to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propeller</a:t>
            </a:r>
          </a:p>
        </p:txBody>
      </p:sp>
      <p:pic>
        <p:nvPicPr>
          <p:cNvPr id="53" name="Graphic 52" descr="Badge Follow with solid fill">
            <a:extLst>
              <a:ext uri="{FF2B5EF4-FFF2-40B4-BE49-F238E27FC236}">
                <a16:creationId xmlns:a16="http://schemas.microsoft.com/office/drawing/2014/main" id="{E1A25421-BA41-5A5B-B7B3-CC95F5A82DC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787598" y="4565583"/>
            <a:ext cx="726334" cy="726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74712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C7D1C70-556B-567A-EABA-155E4E95FE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47" imgH="348" progId="TCLayout.ActiveDocument.1">
                  <p:embed/>
                </p:oleObj>
              </mc:Choice>
              <mc:Fallback>
                <p:oleObj name="think-cell Slide" r:id="rId3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C7D1C70-556B-567A-EABA-155E4E95F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81D6B7A-B1A8-732B-A5FD-077C42B5E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381" y="608622"/>
            <a:ext cx="11160125" cy="530594"/>
          </a:xfrm>
        </p:spPr>
        <p:txBody>
          <a:bodyPr vert="horz"/>
          <a:lstStyle/>
          <a:p>
            <a:r>
              <a:rPr lang="en-US"/>
              <a:t>Upstream (well-to-tank) emissions matter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E0207EF-D30C-252B-3DE1-B884B43DB9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BC3415-6A21-2E49-A058-D443F991EEAB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1E3B">
                    <a:tint val="75000"/>
                  </a:srgbClr>
                </a:solidFill>
                <a:effectLst/>
                <a:uLnTx/>
                <a:uFillTx/>
                <a:latin typeface="GT Walsheim Pro Light" pitchFamily="2" charset="77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srgbClr val="001E3B">
                  <a:tint val="75000"/>
                </a:srgbClr>
              </a:solidFill>
              <a:effectLst/>
              <a:uLnTx/>
              <a:uFillTx/>
              <a:latin typeface="GT Walsheim Pro Light" pitchFamily="2" charset="77"/>
              <a:ea typeface="+mn-ea"/>
              <a:cs typeface="+mn-cs"/>
            </a:endParaRPr>
          </a:p>
        </p:txBody>
      </p:sp>
      <p:sp>
        <p:nvSpPr>
          <p:cNvPr id="61" name="Half Frame 60">
            <a:extLst>
              <a:ext uri="{FF2B5EF4-FFF2-40B4-BE49-F238E27FC236}">
                <a16:creationId xmlns:a16="http://schemas.microsoft.com/office/drawing/2014/main" id="{2346AB8D-F79C-E1C5-E197-5027A017D8C2}"/>
              </a:ext>
            </a:extLst>
          </p:cNvPr>
          <p:cNvSpPr/>
          <p:nvPr/>
        </p:nvSpPr>
        <p:spPr>
          <a:xfrm rot="8100000">
            <a:off x="7794625" y="4105275"/>
            <a:ext cx="96782" cy="111125"/>
          </a:xfrm>
          <a:prstGeom prst="halfFrame">
            <a:avLst>
              <a:gd name="adj1" fmla="val 4890"/>
              <a:gd name="adj2" fmla="val 6213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>
            <a:defPPr>
              <a:defRPr lang="en-US"/>
            </a:defPPr>
            <a:lvl1pPr marL="0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77" name="Half Frame 76">
            <a:extLst>
              <a:ext uri="{FF2B5EF4-FFF2-40B4-BE49-F238E27FC236}">
                <a16:creationId xmlns:a16="http://schemas.microsoft.com/office/drawing/2014/main" id="{F4A41CE3-C6B7-2F19-3AD2-74328C8FADBF}"/>
              </a:ext>
            </a:extLst>
          </p:cNvPr>
          <p:cNvSpPr/>
          <p:nvPr/>
        </p:nvSpPr>
        <p:spPr>
          <a:xfrm rot="8100000">
            <a:off x="6018213" y="3916363"/>
            <a:ext cx="96782" cy="112713"/>
          </a:xfrm>
          <a:prstGeom prst="halfFrame">
            <a:avLst>
              <a:gd name="adj1" fmla="val 4890"/>
              <a:gd name="adj2" fmla="val 6213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>
            <a:defPPr>
              <a:defRPr lang="en-US"/>
            </a:defPPr>
            <a:lvl1pPr marL="0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B3B480B-E254-4073-0BBC-243C944E8DBB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2332038" y="1739900"/>
          <a:ext cx="6272212" cy="4672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58" name="Arrow: Right 57">
            <a:extLst>
              <a:ext uri="{FF2B5EF4-FFF2-40B4-BE49-F238E27FC236}">
                <a16:creationId xmlns:a16="http://schemas.microsoft.com/office/drawing/2014/main" id="{09D1608E-4952-EF5D-025C-3C74D92DF23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 rot="16200000">
            <a:off x="5802313" y="6284913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tx2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BF6DE4-E737-3511-206B-D60FFCDFE610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5865813" y="1905000"/>
            <a:ext cx="0" cy="4341813"/>
          </a:xfrm>
          <a:prstGeom prst="line">
            <a:avLst/>
          </a:prstGeom>
          <a:ln w="190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D64623B2-F7A0-EE0F-A0C0-33031EB5AD3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397125" y="2006601"/>
            <a:ext cx="71438" cy="106363"/>
          </a:xfrm>
          <a:prstGeom prst="rect">
            <a:avLst/>
          </a:prstGeom>
          <a:solidFill>
            <a:srgbClr val="F5B2AE"/>
          </a:solidFill>
          <a:ln>
            <a:noFill/>
          </a:ln>
          <a:effectLst/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575C8A43-BCCE-4AC4-927B-794D43B1604A}" type="datetime'''''''''''''''''''''''''''''''7'''''''''''''''''''''''''">
              <a:rPr kumimoji="0" lang="da-DK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97C3405B-9BE3-C07A-B3C5-33E51BB4114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03376" y="1982788"/>
            <a:ext cx="6889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FED6393E-4574-46AC-9193-C7D8BDCCD22E}" type="datetime'E-''m''''''''''''''''''''''e''''''th''''''an''o''l 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E-methanol 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1B18EDC-1612-D9AE-3E65-886573796AF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646364" y="2316164"/>
            <a:ext cx="79375" cy="106363"/>
          </a:xfrm>
          <a:prstGeom prst="rect">
            <a:avLst/>
          </a:prstGeom>
          <a:solidFill>
            <a:srgbClr val="F5B2AE"/>
          </a:solidFill>
          <a:ln>
            <a:noFill/>
          </a:ln>
          <a:effectLst/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378AF4D5-5AA4-492C-BE79-42EBC3C845DC}" type="datetime'''''''''''''''''''''''''''''''0'">
              <a:rPr kumimoji="0" lang="da-DK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0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A8032CF-550C-755E-D4ED-D93DBCDFB5D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109663" y="2292350"/>
            <a:ext cx="11826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773D11A6-68C6-4C73-9AF2-F0481571B3C9}" type="datetime'''B''io''''''di''e''''''se''''''''l'' ''(''adv''. ''fam''e)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Biodiesel (adv. fame)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D3475EF2-025D-B308-E628-61E57BE10D1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604963" y="2603500"/>
            <a:ext cx="6873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4285C102-03D0-4B86-97E3-3C5FCF25B1CB}" type="datetime'E''''-''''''''''''''''A''m''m''''''o''n''''''''''i''''''''a 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E-Ammonia 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B196A39A-6FAA-BB55-4807-05CF41B35304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917825" y="2936876"/>
            <a:ext cx="109538" cy="106363"/>
          </a:xfrm>
          <a:prstGeom prst="rect">
            <a:avLst/>
          </a:prstGeom>
          <a:solidFill>
            <a:srgbClr val="F5B2AE"/>
          </a:solidFill>
          <a:ln>
            <a:noFill/>
          </a:ln>
          <a:effectLst/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78628FB7-2575-46FC-A6B0-50AA6FEC61B8}" type="datetime'''''''1''''2'''''''''''">
              <a:rPr kumimoji="0" lang="da-DK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12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3AF6CE5-92C8-0E24-0DEE-F35EB4564E6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49326" y="2913063"/>
            <a:ext cx="13430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D1EDED1-0BE1-437E-ACAE-B8E96580738D}" type="datetime'''Bi''''o''L''''N''G (or''''gan''ic ''''w''a''''s''te'')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BioLNG (organic waste)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C0B0E66D-38C0-B91C-6FA9-7D8DC1ED9A8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592513" y="3246439"/>
            <a:ext cx="71438" cy="106363"/>
          </a:xfrm>
          <a:prstGeom prst="rect">
            <a:avLst/>
          </a:prstGeom>
          <a:solidFill>
            <a:srgbClr val="F5B2AE"/>
          </a:solidFill>
          <a:ln>
            <a:noFill/>
          </a:ln>
          <a:effectLst/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0B04814C-D08A-4EB3-97CD-6785353C2551}" type="datetime'''''''7'''''''''''''">
              <a:rPr kumimoji="0" lang="da-DK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DBE22CE6-91C2-2516-B90F-43A690F91032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585913" y="3222625"/>
            <a:ext cx="706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DC1631C-8D95-4983-AFD8-94EEEBD6072C}" type="datetime'B''io''''Me''''''''t''''''''''h''a''n''o''''''''''''l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BioMethanol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FEA7D35-8512-6A91-8D7E-F690F414ED2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910138" y="3557589"/>
            <a:ext cx="71438" cy="106363"/>
          </a:xfrm>
          <a:prstGeom prst="rect">
            <a:avLst/>
          </a:prstGeom>
          <a:solidFill>
            <a:srgbClr val="F5B2AE"/>
          </a:solidFill>
          <a:ln>
            <a:noFill/>
          </a:ln>
          <a:effectLst/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EDF1A407-C9C8-49A9-A2A4-A981D2089038}" type="datetime'7'''''''">
              <a:rPr kumimoji="0" lang="da-DK" alt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172025E-F10D-AC2D-EBEA-5FAA851838D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53989" y="3533775"/>
            <a:ext cx="21383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87EA526-3325-4235-8A79-A98C912D0591}" type="datetime'B30 ''(VLS''FO'' and'' ''Biod''iesel, a''dv.'' fame'')'''">
              <a:rPr kumimoji="0" lang="en-US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B30 (VLSFO and Biodiesel, adv. fame)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094C80A1-EB95-865F-0EDE-1FFF6A791EE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233988" y="3867151"/>
            <a:ext cx="76200" cy="106363"/>
          </a:xfrm>
          <a:prstGeom prst="rect">
            <a:avLst/>
          </a:prstGeom>
          <a:solidFill>
            <a:srgbClr val="F5B2AE"/>
          </a:solidFill>
          <a:ln>
            <a:noFill/>
          </a:ln>
          <a:effectLst/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F6DD48F-34F7-4FCB-A54A-66B2D63B8BFF}" type="datetime'''''''6'''''''''''''''''''''''''''''''''''''">
              <a:rPr kumimoji="0" lang="da-DK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6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E5327A8F-408E-16E0-9B58-8DC860E7F77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049463" y="3843338"/>
            <a:ext cx="2428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D4220B5F-962D-4A4E-99C9-90147E69D005}" type="datetime'''''LP''''''''''''''''''''''G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LPG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956C3A41-ABEF-1A5A-209A-D952E53B555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243513" y="4178301"/>
            <a:ext cx="109538" cy="106363"/>
          </a:xfrm>
          <a:prstGeom prst="rect">
            <a:avLst/>
          </a:prstGeom>
          <a:solidFill>
            <a:srgbClr val="F5B2AE"/>
          </a:solidFill>
          <a:ln>
            <a:noFill/>
          </a:ln>
          <a:effectLst/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5596D02-FAF7-4C78-A3EE-40453F87601E}" type="datetime'''''''12'''''''''''''''''''''''''''''''''''''''''''''''''''''">
              <a:rPr kumimoji="0" lang="da-DK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12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1992C050-54E3-8967-F0CF-13774CF3915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006600" y="4154488"/>
            <a:ext cx="2857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2738C16-D153-4CD8-8AA9-F45828DB9072}" type="datetime'LN''''''''''''''''''''''''''''''''''''''''''''''''''G'''''' 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LNG 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6B82CB1D-BC9C-4FC6-C41E-261A19B21533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715001" y="4487864"/>
            <a:ext cx="112713" cy="106363"/>
          </a:xfrm>
          <a:prstGeom prst="rect">
            <a:avLst/>
          </a:prstGeom>
          <a:solidFill>
            <a:srgbClr val="F5B2AE"/>
          </a:solidFill>
          <a:ln>
            <a:noFill/>
          </a:ln>
          <a:effectLst/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35F4C5FF-BD77-4734-9DB6-1A9595BC7217}" type="datetime'''''''''''''1''''''''''''''''''''''''''''''''''0'''''''''''''">
              <a:rPr kumimoji="0" lang="da-DK" alt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10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EC5B33B7-956E-D7BB-1761-EFD5E4E785F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320800" y="4464050"/>
            <a:ext cx="9715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E858183-A5DA-4FA1-B79B-6E1FF032C18E}" type="datetime'H''''''''FO ''w/'''''''' s''''''''''''c''''r''ubb''e''r'''''">
              <a:rPr kumimoji="0" lang="en-US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HFO w/ scrubber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465E9EF6-FE8C-A34D-3D49-A14601E31AF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827713" y="4797426"/>
            <a:ext cx="74613" cy="106363"/>
          </a:xfrm>
          <a:prstGeom prst="rect">
            <a:avLst/>
          </a:prstGeom>
          <a:solidFill>
            <a:srgbClr val="F5B2AE"/>
          </a:solidFill>
          <a:ln>
            <a:noFill/>
          </a:ln>
          <a:effectLst/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 Light" pitchFamily="2" charset="77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 Light" pitchFamily="2" charset="77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 Light" pitchFamily="2" charset="77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 Light" pitchFamily="2" charset="77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 Light" pitchFamily="2" charset="77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B9A661D-920B-43E9-92AB-10B0DC1A118A}" type="datetime'''''''''''9'">
              <a:rPr kumimoji="0" lang="da-DK" alt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</a:t>
            </a:fld>
            <a:endParaRPr kumimoji="0" lang="da-DK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Arial" panose="020B0604020202020204" pitchFamily="34" charset="0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E6F586F8-3857-B632-059D-48E48B9E83E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982788" y="4773613"/>
            <a:ext cx="3095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ACCBBCA8-1BCB-4EA4-A2DD-37F8007A821A}" type="datetime'''''''MG''''''''''''''''''''''''''''''''''''''O'''">
              <a:rPr kumimoji="0" lang="en-US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GO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34E82071-81C4-BA89-E4F8-C5B9E341A7D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853114" y="5108576"/>
            <a:ext cx="112713" cy="106363"/>
          </a:xfrm>
          <a:prstGeom prst="rect">
            <a:avLst/>
          </a:prstGeom>
          <a:solidFill>
            <a:srgbClr val="F5B2AE"/>
          </a:solidFill>
          <a:ln>
            <a:noFill/>
          </a:ln>
          <a:effectLst/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9C1E0A77-490A-4144-8986-035E53C222EC}" type="datetime'''''''1''''''''''0'''''''''''''''''''''''">
              <a:rPr kumimoji="0" lang="da-DK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10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8F820F1D-E009-B59C-543A-D2716D41926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914526" y="5084763"/>
            <a:ext cx="377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CBA384EA-DD95-430B-A8C8-25F235E16957}" type="datetime'''V''L''''''''''''''S''F''''''''''''''''''''O'''''">
              <a:rPr kumimoji="0" lang="en-US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VLSFO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1CDB94BF-CF15-D683-4666-92CD1C9B960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242050" y="5418139"/>
            <a:ext cx="71438" cy="106363"/>
          </a:xfrm>
          <a:prstGeom prst="rect">
            <a:avLst/>
          </a:prstGeom>
          <a:solidFill>
            <a:srgbClr val="F5B2AE"/>
          </a:solidFill>
          <a:ln>
            <a:noFill/>
          </a:ln>
          <a:effectLst/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2CC1A1C2-69CB-4D32-A5E2-CE09103417E5}" type="datetime'''''''7'''''''''''''''''''">
              <a:rPr kumimoji="0" lang="da-DK" altLang="en-US" sz="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7</a:t>
            </a:fld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709D14B3-8FC1-1430-F6EE-3C4078BEC86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00089" y="5394325"/>
            <a:ext cx="1592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C5C75EA9-2246-4F4A-A5F4-4EFD0B4B0C23}" type="datetime'M''et''''hano''''''l (f''r''om'' nat''ur''a''l g''a''s)'''">
              <a:rPr kumimoji="0" lang="en-US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Methanol (from natural gas)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34" name="Pladsholder til tekst 2">
            <a:extLst>
              <a:ext uri="{FF2B5EF4-FFF2-40B4-BE49-F238E27FC236}">
                <a16:creationId xmlns:a16="http://schemas.microsoft.com/office/drawing/2014/main" id="{465E9EF6-FE8C-A34D-3D49-A14601E31AF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804025" y="5727701"/>
            <a:ext cx="74613" cy="106363"/>
          </a:xfrm>
          <a:prstGeom prst="rect">
            <a:avLst/>
          </a:prstGeom>
          <a:solidFill>
            <a:srgbClr val="F5B2AE"/>
          </a:solidFill>
          <a:ln>
            <a:noFill/>
          </a:ln>
          <a:effectLst/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 Light" pitchFamily="2" charset="77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 Light" pitchFamily="2" charset="77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 Light" pitchFamily="2" charset="77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 Light" pitchFamily="2" charset="77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 Light" pitchFamily="2" charset="77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15F919E-4A98-4CF6-8B57-2FF2431D9C2B}" type="datetime'''''''''''''''''''''''''''''9'''''''">
              <a:rPr kumimoji="0" lang="da-DK" alt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9</a:t>
            </a:fld>
            <a:endParaRPr kumimoji="0" lang="da-DK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01BA2595-F25C-DC7F-9943-18B19415634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85839" y="5703888"/>
            <a:ext cx="13065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1330FC54-59DF-4E2E-9E69-7FC850D34B00}" type="datetime'B''iodies''''el (1 g''''e''''''''''ne''''''r''ati''on'')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Biodiesel (1 generation)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917B0AC1-8454-70E9-DC98-970DF1081C1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98500" y="6015038"/>
            <a:ext cx="1593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fld id="{4D3086F0-7CBF-4DE6-971D-D371ECF08C62}" type="datetime'A''''''''''m''moni''''a ''(fr''''o''''m'' n''a''tur''al gas)'">
              <a:rPr kumimoji="0" lang="en-US" alt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pPr marL="0" marR="0" lvl="1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​"/>
                <a:tabLst/>
                <a:defRPr/>
              </a:pPr>
              <a:t>Ammonia (from natural gas)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T Walsheim Pro"/>
              <a:ea typeface="+mn-ea"/>
              <a:cs typeface="+mn-cs"/>
              <a:sym typeface="Arial Nova Cond" panose="020B0506020202020204" pitchFamily="34" charset="0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3B6ECB05-8F59-38A2-C3D4-E81E917C3D4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760913" y="6477000"/>
            <a:ext cx="2209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DA291C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CO2eq. change compared to MGO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9C449370-E7BB-648C-FD50-0BD2C7B37F77}"/>
              </a:ext>
            </a:extLst>
          </p:cNvPr>
          <p:cNvGrpSpPr/>
          <p:nvPr/>
        </p:nvGrpSpPr>
        <p:grpSpPr>
          <a:xfrm>
            <a:off x="6353898" y="2003425"/>
            <a:ext cx="2121988" cy="884238"/>
            <a:chOff x="9652001" y="1732053"/>
            <a:chExt cx="2121988" cy="884514"/>
          </a:xfrm>
        </p:grpSpPr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C405FB54-0BA7-DD3A-D063-23C80FC2D82A}"/>
                </a:ext>
              </a:extLst>
            </p:cNvPr>
            <p:cNvSpPr/>
            <p:nvPr/>
          </p:nvSpPr>
          <p:spPr>
            <a:xfrm>
              <a:off x="9652001" y="1732053"/>
              <a:ext cx="2121988" cy="88451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B4597363-56B0-0A98-B08B-CDD9343C1FA8}"/>
                </a:ext>
              </a:extLst>
            </p:cNvPr>
            <p:cNvGrpSpPr/>
            <p:nvPr/>
          </p:nvGrpSpPr>
          <p:grpSpPr>
            <a:xfrm>
              <a:off x="9809792" y="1764830"/>
              <a:ext cx="1805318" cy="844420"/>
              <a:chOff x="2028693" y="5997257"/>
              <a:chExt cx="1805318" cy="844420"/>
            </a:xfrm>
          </p:grpSpPr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1A22E3BA-6AFF-2C3D-9E47-CC8C64EC5A8D}"/>
                  </a:ext>
                </a:extLst>
              </p:cNvPr>
              <p:cNvGrpSpPr/>
              <p:nvPr/>
            </p:nvGrpSpPr>
            <p:grpSpPr>
              <a:xfrm>
                <a:off x="2131349" y="6192607"/>
                <a:ext cx="726152" cy="138542"/>
                <a:chOff x="969299" y="6194215"/>
                <a:chExt cx="726152" cy="138542"/>
              </a:xfrm>
            </p:grpSpPr>
            <p:sp>
              <p:nvSpPr>
                <p:cNvPr id="125" name="Rectangle 124">
                  <a:extLst>
                    <a:ext uri="{FF2B5EF4-FFF2-40B4-BE49-F238E27FC236}">
                      <a16:creationId xmlns:a16="http://schemas.microsoft.com/office/drawing/2014/main" id="{318756B4-AF77-C7FF-7A2C-6F291340D3F4}"/>
                    </a:ext>
                  </a:extLst>
                </p:cNvPr>
                <p:cNvSpPr/>
                <p:nvPr/>
              </p:nvSpPr>
              <p:spPr>
                <a:xfrm>
                  <a:off x="969299" y="6221721"/>
                  <a:ext cx="230432" cy="96922"/>
                </a:xfrm>
                <a:prstGeom prst="rect">
                  <a:avLst/>
                </a:prstGeom>
                <a:solidFill>
                  <a:srgbClr val="6D140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T Walsheim Pro"/>
                    <a:ea typeface="+mn-ea"/>
                    <a:cs typeface="+mn-cs"/>
                  </a:endParaRPr>
                </a:p>
              </p:txBody>
            </p:sp>
            <p:sp>
              <p:nvSpPr>
                <p:cNvPr id="126" name="TextBox 125">
                  <a:extLst>
                    <a:ext uri="{FF2B5EF4-FFF2-40B4-BE49-F238E27FC236}">
                      <a16:creationId xmlns:a16="http://schemas.microsoft.com/office/drawing/2014/main" id="{218F9CDF-41D5-608B-6929-CE147292AFB4}"/>
                    </a:ext>
                  </a:extLst>
                </p:cNvPr>
                <p:cNvSpPr txBox="1"/>
                <p:nvPr/>
              </p:nvSpPr>
              <p:spPr>
                <a:xfrm>
                  <a:off x="1267997" y="6194215"/>
                  <a:ext cx="427454" cy="1385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a-DK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GT Walsheim Pro"/>
                      <a:ea typeface="+mn-ea"/>
                      <a:cs typeface="+mn-cs"/>
                    </a:rPr>
                    <a:t>WTT</a:t>
                  </a:r>
                </a:p>
              </p:txBody>
            </p:sp>
          </p:grpSp>
          <p:sp>
            <p:nvSpPr>
              <p:cNvPr id="117" name="Rectangle 116">
                <a:extLst>
                  <a:ext uri="{FF2B5EF4-FFF2-40B4-BE49-F238E27FC236}">
                    <a16:creationId xmlns:a16="http://schemas.microsoft.com/office/drawing/2014/main" id="{512EBAB5-DF84-6306-D1EA-230E9638849C}"/>
                  </a:ext>
                </a:extLst>
              </p:cNvPr>
              <p:cNvSpPr/>
              <p:nvPr/>
            </p:nvSpPr>
            <p:spPr>
              <a:xfrm>
                <a:off x="2028693" y="6128067"/>
                <a:ext cx="1805318" cy="643243"/>
              </a:xfrm>
              <a:prstGeom prst="rect">
                <a:avLst/>
              </a:prstGeom>
              <a:noFill/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T Walsheim Pro"/>
                  <a:ea typeface="+mn-ea"/>
                  <a:cs typeface="+mn-cs"/>
                </a:endParaRPr>
              </a:p>
            </p:txBody>
          </p:sp>
          <p:sp>
            <p:nvSpPr>
              <p:cNvPr id="118" name="Rectangle 117">
                <a:extLst>
                  <a:ext uri="{FF2B5EF4-FFF2-40B4-BE49-F238E27FC236}">
                    <a16:creationId xmlns:a16="http://schemas.microsoft.com/office/drawing/2014/main" id="{4312CCA7-5525-EDAF-0B23-5C286B6075AC}"/>
                  </a:ext>
                </a:extLst>
              </p:cNvPr>
              <p:cNvSpPr/>
              <p:nvPr/>
            </p:nvSpPr>
            <p:spPr>
              <a:xfrm>
                <a:off x="2430047" y="5997257"/>
                <a:ext cx="923609" cy="16607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T Walsheim Pro"/>
                    <a:ea typeface="+mn-ea"/>
                    <a:cs typeface="+mn-cs"/>
                  </a:rPr>
                  <a:t>Legend</a:t>
                </a:r>
              </a:p>
            </p:txBody>
          </p: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0D84BE81-3A83-C7E4-3571-798CE1F9C027}"/>
                  </a:ext>
                </a:extLst>
              </p:cNvPr>
              <p:cNvGrpSpPr/>
              <p:nvPr/>
            </p:nvGrpSpPr>
            <p:grpSpPr>
              <a:xfrm>
                <a:off x="2134101" y="6383530"/>
                <a:ext cx="879310" cy="138542"/>
                <a:chOff x="9526" y="6385138"/>
                <a:chExt cx="879310" cy="138542"/>
              </a:xfrm>
            </p:grpSpPr>
            <p:sp>
              <p:nvSpPr>
                <p:cNvPr id="123" name="Rectangle 122">
                  <a:extLst>
                    <a:ext uri="{FF2B5EF4-FFF2-40B4-BE49-F238E27FC236}">
                      <a16:creationId xmlns:a16="http://schemas.microsoft.com/office/drawing/2014/main" id="{B46A1643-776D-412F-37E8-09242164DC75}"/>
                    </a:ext>
                  </a:extLst>
                </p:cNvPr>
                <p:cNvSpPr/>
                <p:nvPr/>
              </p:nvSpPr>
              <p:spPr>
                <a:xfrm>
                  <a:off x="9526" y="6412644"/>
                  <a:ext cx="230432" cy="96922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T Walsheim Pro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TextBox 123">
                  <a:extLst>
                    <a:ext uri="{FF2B5EF4-FFF2-40B4-BE49-F238E27FC236}">
                      <a16:creationId xmlns:a16="http://schemas.microsoft.com/office/drawing/2014/main" id="{4AE5F247-F33F-33C4-FD0A-5AE3B767212B}"/>
                    </a:ext>
                  </a:extLst>
                </p:cNvPr>
                <p:cNvSpPr txBox="1"/>
                <p:nvPr/>
              </p:nvSpPr>
              <p:spPr>
                <a:xfrm>
                  <a:off x="308223" y="6385138"/>
                  <a:ext cx="580613" cy="138542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a-DK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GT Walsheim Pro"/>
                      <a:ea typeface="+mn-ea"/>
                      <a:cs typeface="+mn-cs"/>
                    </a:rPr>
                    <a:t>TTW CO2</a:t>
                  </a:r>
                </a:p>
              </p:txBody>
            </p:sp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41567DC-C400-AF6A-521F-752C4DC9DAD0}"/>
                  </a:ext>
                </a:extLst>
              </p:cNvPr>
              <p:cNvGrpSpPr/>
              <p:nvPr/>
            </p:nvGrpSpPr>
            <p:grpSpPr>
              <a:xfrm>
                <a:off x="2131350" y="6564592"/>
                <a:ext cx="1657014" cy="277085"/>
                <a:chOff x="-955750" y="6566200"/>
                <a:chExt cx="1657014" cy="277085"/>
              </a:xfrm>
            </p:grpSpPr>
            <p:sp>
              <p:nvSpPr>
                <p:cNvPr id="121" name="Rectangle 120">
                  <a:extLst>
                    <a:ext uri="{FF2B5EF4-FFF2-40B4-BE49-F238E27FC236}">
                      <a16:creationId xmlns:a16="http://schemas.microsoft.com/office/drawing/2014/main" id="{B830D6B4-459D-7610-A08E-89016ECCCA9B}"/>
                    </a:ext>
                  </a:extLst>
                </p:cNvPr>
                <p:cNvSpPr/>
                <p:nvPr/>
              </p:nvSpPr>
              <p:spPr>
                <a:xfrm>
                  <a:off x="-955750" y="6593706"/>
                  <a:ext cx="230432" cy="96922"/>
                </a:xfrm>
                <a:prstGeom prst="rect">
                  <a:avLst/>
                </a:prstGeom>
                <a:solidFill>
                  <a:srgbClr val="EC7A7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T Walsheim Pro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TextBox 121">
                  <a:extLst>
                    <a:ext uri="{FF2B5EF4-FFF2-40B4-BE49-F238E27FC236}">
                      <a16:creationId xmlns:a16="http://schemas.microsoft.com/office/drawing/2014/main" id="{F437D48D-E426-0D23-25F3-5C66059C675A}"/>
                    </a:ext>
                  </a:extLst>
                </p:cNvPr>
                <p:cNvSpPr txBox="1"/>
                <p:nvPr/>
              </p:nvSpPr>
              <p:spPr>
                <a:xfrm>
                  <a:off x="-657053" y="6566200"/>
                  <a:ext cx="1358317" cy="27708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a-DK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GT Walsheim Pro"/>
                      <a:ea typeface="+mn-ea"/>
                      <a:cs typeface="+mn-cs"/>
                    </a:rPr>
                    <a:t>TTW other GHG (CH4+NO2)</a:t>
                  </a:r>
                </a:p>
              </p:txBody>
            </p:sp>
          </p:grpSp>
        </p:grpSp>
      </p:grpSp>
      <p:sp>
        <p:nvSpPr>
          <p:cNvPr id="127" name="TextBox 126">
            <a:extLst>
              <a:ext uri="{FF2B5EF4-FFF2-40B4-BE49-F238E27FC236}">
                <a16:creationId xmlns:a16="http://schemas.microsoft.com/office/drawing/2014/main" id="{39D7540F-4C25-EFA7-84C4-D079FB1962A2}"/>
              </a:ext>
            </a:extLst>
          </p:cNvPr>
          <p:cNvSpPr txBox="1"/>
          <p:nvPr/>
        </p:nvSpPr>
        <p:spPr>
          <a:xfrm>
            <a:off x="923281" y="6321662"/>
            <a:ext cx="24542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Source: Lindstad/Smart Maritime, 2021, except biodiesel (adv. Fame) based on ISCC LCA methodology</a:t>
            </a:r>
          </a:p>
        </p:txBody>
      </p:sp>
      <p:sp>
        <p:nvSpPr>
          <p:cNvPr id="128" name="TextBox 1">
            <a:extLst>
              <a:ext uri="{FF2B5EF4-FFF2-40B4-BE49-F238E27FC236}">
                <a16:creationId xmlns:a16="http://schemas.microsoft.com/office/drawing/2014/main" id="{F0F47800-9B5C-9CDF-F019-B0ED42C3E50F}"/>
              </a:ext>
            </a:extLst>
          </p:cNvPr>
          <p:cNvSpPr txBox="1"/>
          <p:nvPr/>
        </p:nvSpPr>
        <p:spPr>
          <a:xfrm>
            <a:off x="2043455" y="1391628"/>
            <a:ext cx="740092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Well-to-Wake Emissions in Gram CO2eq. per kWh – GWP100 </a:t>
            </a:r>
          </a:p>
        </p:txBody>
      </p: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72E40A05-A834-9D6F-80AB-A62182902139}"/>
              </a:ext>
            </a:extLst>
          </p:cNvPr>
          <p:cNvGrpSpPr/>
          <p:nvPr/>
        </p:nvGrpSpPr>
        <p:grpSpPr>
          <a:xfrm>
            <a:off x="6354124" y="2003425"/>
            <a:ext cx="2259476" cy="1144588"/>
            <a:chOff x="9652001" y="1732053"/>
            <a:chExt cx="2258944" cy="1144723"/>
          </a:xfrm>
        </p:grpSpPr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6DA5E807-8616-0875-04A4-3943FFAA5FE8}"/>
                </a:ext>
              </a:extLst>
            </p:cNvPr>
            <p:cNvSpPr/>
            <p:nvPr/>
          </p:nvSpPr>
          <p:spPr>
            <a:xfrm>
              <a:off x="9652001" y="1732053"/>
              <a:ext cx="2121988" cy="11447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T Walsheim Pro"/>
                <a:ea typeface="+mn-ea"/>
                <a:cs typeface="+mn-cs"/>
              </a:endParaRP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2D2A39A5-DE41-F18D-C5C0-2B2079FE9582}"/>
                </a:ext>
              </a:extLst>
            </p:cNvPr>
            <p:cNvGrpSpPr/>
            <p:nvPr/>
          </p:nvGrpSpPr>
          <p:grpSpPr>
            <a:xfrm>
              <a:off x="9809792" y="1799670"/>
              <a:ext cx="2101153" cy="1067800"/>
              <a:chOff x="2028693" y="6032097"/>
              <a:chExt cx="2101153" cy="1067800"/>
            </a:xfrm>
          </p:grpSpPr>
          <p:grpSp>
            <p:nvGrpSpPr>
              <p:cNvPr id="132" name="Group 131">
                <a:extLst>
                  <a:ext uri="{FF2B5EF4-FFF2-40B4-BE49-F238E27FC236}">
                    <a16:creationId xmlns:a16="http://schemas.microsoft.com/office/drawing/2014/main" id="{6D83AA12-72B6-6B9C-432D-B480D675B1EE}"/>
                  </a:ext>
                </a:extLst>
              </p:cNvPr>
              <p:cNvGrpSpPr/>
              <p:nvPr/>
            </p:nvGrpSpPr>
            <p:grpSpPr>
              <a:xfrm>
                <a:off x="2131349" y="6192607"/>
                <a:ext cx="726152" cy="138515"/>
                <a:chOff x="969299" y="6194215"/>
                <a:chExt cx="726152" cy="138515"/>
              </a:xfrm>
            </p:grpSpPr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192278F7-E5F6-5588-3B14-B1F7BE310D32}"/>
                    </a:ext>
                  </a:extLst>
                </p:cNvPr>
                <p:cNvSpPr/>
                <p:nvPr/>
              </p:nvSpPr>
              <p:spPr>
                <a:xfrm>
                  <a:off x="969299" y="6221721"/>
                  <a:ext cx="230432" cy="96922"/>
                </a:xfrm>
                <a:prstGeom prst="rect">
                  <a:avLst/>
                </a:prstGeom>
                <a:solidFill>
                  <a:srgbClr val="6D140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T Walsheim Pro"/>
                    <a:ea typeface="+mn-ea"/>
                    <a:cs typeface="+mn-cs"/>
                  </a:endParaRPr>
                </a:p>
              </p:txBody>
            </p:sp>
            <p:sp>
              <p:nvSpPr>
                <p:cNvPr id="144" name="TextBox 143">
                  <a:extLst>
                    <a:ext uri="{FF2B5EF4-FFF2-40B4-BE49-F238E27FC236}">
                      <a16:creationId xmlns:a16="http://schemas.microsoft.com/office/drawing/2014/main" id="{678B3456-3832-48CB-86A1-0BF5221F37FF}"/>
                    </a:ext>
                  </a:extLst>
                </p:cNvPr>
                <p:cNvSpPr txBox="1"/>
                <p:nvPr/>
              </p:nvSpPr>
              <p:spPr>
                <a:xfrm>
                  <a:off x="1267997" y="6194215"/>
                  <a:ext cx="427454" cy="13851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a-DK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GT Walsheim Pro"/>
                      <a:ea typeface="+mn-ea"/>
                      <a:cs typeface="+mn-cs"/>
                    </a:rPr>
                    <a:t>WTT</a:t>
                  </a:r>
                </a:p>
              </p:txBody>
            </p:sp>
          </p:grpSp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B2ECBC20-4174-67C9-B31A-B6A9BBC50A9C}"/>
                  </a:ext>
                </a:extLst>
              </p:cNvPr>
              <p:cNvSpPr/>
              <p:nvPr/>
            </p:nvSpPr>
            <p:spPr>
              <a:xfrm>
                <a:off x="2028693" y="6128067"/>
                <a:ext cx="1953897" cy="971830"/>
              </a:xfrm>
              <a:prstGeom prst="rect">
                <a:avLst/>
              </a:prstGeom>
              <a:noFill/>
              <a:ln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1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T Walsheim Pro"/>
                  <a:ea typeface="+mn-ea"/>
                  <a:cs typeface="+mn-cs"/>
                </a:endParaRP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C05D22E7-9B5A-99E0-B697-5B3C0031D4FF}"/>
                  </a:ext>
                </a:extLst>
              </p:cNvPr>
              <p:cNvSpPr/>
              <p:nvPr/>
            </p:nvSpPr>
            <p:spPr>
              <a:xfrm>
                <a:off x="2534530" y="6032097"/>
                <a:ext cx="923609" cy="16607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T Walsheim Pro"/>
                    <a:ea typeface="+mn-ea"/>
                    <a:cs typeface="+mn-cs"/>
                  </a:rPr>
                  <a:t>Legend</a:t>
                </a:r>
              </a:p>
            </p:txBody>
          </p:sp>
          <p:grpSp>
            <p:nvGrpSpPr>
              <p:cNvPr id="135" name="Group 134">
                <a:extLst>
                  <a:ext uri="{FF2B5EF4-FFF2-40B4-BE49-F238E27FC236}">
                    <a16:creationId xmlns:a16="http://schemas.microsoft.com/office/drawing/2014/main" id="{61D56A82-FECE-F69D-EC58-A55218212ADF}"/>
                  </a:ext>
                </a:extLst>
              </p:cNvPr>
              <p:cNvGrpSpPr/>
              <p:nvPr/>
            </p:nvGrpSpPr>
            <p:grpSpPr>
              <a:xfrm>
                <a:off x="2134101" y="6383530"/>
                <a:ext cx="879310" cy="138515"/>
                <a:chOff x="9526" y="6385138"/>
                <a:chExt cx="879310" cy="138515"/>
              </a:xfrm>
            </p:grpSpPr>
            <p:sp>
              <p:nvSpPr>
                <p:cNvPr id="141" name="Rectangle 140">
                  <a:extLst>
                    <a:ext uri="{FF2B5EF4-FFF2-40B4-BE49-F238E27FC236}">
                      <a16:creationId xmlns:a16="http://schemas.microsoft.com/office/drawing/2014/main" id="{430E72D1-48CF-1C5C-14FE-542C3D32DC9E}"/>
                    </a:ext>
                  </a:extLst>
                </p:cNvPr>
                <p:cNvSpPr/>
                <p:nvPr/>
              </p:nvSpPr>
              <p:spPr>
                <a:xfrm>
                  <a:off x="9526" y="6412644"/>
                  <a:ext cx="230432" cy="96922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T Walsheim Pro"/>
                    <a:ea typeface="+mn-ea"/>
                    <a:cs typeface="+mn-cs"/>
                  </a:endParaRPr>
                </a:p>
              </p:txBody>
            </p:sp>
            <p:sp>
              <p:nvSpPr>
                <p:cNvPr id="142" name="TextBox 141">
                  <a:extLst>
                    <a:ext uri="{FF2B5EF4-FFF2-40B4-BE49-F238E27FC236}">
                      <a16:creationId xmlns:a16="http://schemas.microsoft.com/office/drawing/2014/main" id="{1D239110-FB4D-5619-1796-7B6832B5639B}"/>
                    </a:ext>
                  </a:extLst>
                </p:cNvPr>
                <p:cNvSpPr txBox="1"/>
                <p:nvPr/>
              </p:nvSpPr>
              <p:spPr>
                <a:xfrm>
                  <a:off x="308223" y="6385138"/>
                  <a:ext cx="580613" cy="13851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a-DK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GT Walsheim Pro"/>
                      <a:ea typeface="+mn-ea"/>
                      <a:cs typeface="+mn-cs"/>
                    </a:rPr>
                    <a:t>TTW CO2</a:t>
                  </a:r>
                </a:p>
              </p:txBody>
            </p:sp>
          </p:grpSp>
          <p:grpSp>
            <p:nvGrpSpPr>
              <p:cNvPr id="136" name="Group 135">
                <a:extLst>
                  <a:ext uri="{FF2B5EF4-FFF2-40B4-BE49-F238E27FC236}">
                    <a16:creationId xmlns:a16="http://schemas.microsoft.com/office/drawing/2014/main" id="{0E5BD940-7112-3952-E8D6-77F304411C65}"/>
                  </a:ext>
                </a:extLst>
              </p:cNvPr>
              <p:cNvGrpSpPr/>
              <p:nvPr/>
            </p:nvGrpSpPr>
            <p:grpSpPr>
              <a:xfrm>
                <a:off x="2131350" y="6564592"/>
                <a:ext cx="1998496" cy="469709"/>
                <a:chOff x="-955750" y="6566200"/>
                <a:chExt cx="1998496" cy="469709"/>
              </a:xfrm>
            </p:grpSpPr>
            <p:sp>
              <p:nvSpPr>
                <p:cNvPr id="137" name="Rectangle 136">
                  <a:extLst>
                    <a:ext uri="{FF2B5EF4-FFF2-40B4-BE49-F238E27FC236}">
                      <a16:creationId xmlns:a16="http://schemas.microsoft.com/office/drawing/2014/main" id="{DF8CA677-C248-2D77-0D9F-9AA05D800E61}"/>
                    </a:ext>
                  </a:extLst>
                </p:cNvPr>
                <p:cNvSpPr/>
                <p:nvPr/>
              </p:nvSpPr>
              <p:spPr>
                <a:xfrm>
                  <a:off x="-955750" y="6593706"/>
                  <a:ext cx="230432" cy="96922"/>
                </a:xfrm>
                <a:prstGeom prst="rect">
                  <a:avLst/>
                </a:prstGeom>
                <a:solidFill>
                  <a:srgbClr val="EC7A7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a-DK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T Walsheim Pro"/>
                    <a:ea typeface="+mn-ea"/>
                    <a:cs typeface="+mn-cs"/>
                  </a:endParaRPr>
                </a:p>
              </p:txBody>
            </p:sp>
            <p:sp>
              <p:nvSpPr>
                <p:cNvPr id="138" name="TextBox 137">
                  <a:extLst>
                    <a:ext uri="{FF2B5EF4-FFF2-40B4-BE49-F238E27FC236}">
                      <a16:creationId xmlns:a16="http://schemas.microsoft.com/office/drawing/2014/main" id="{2A4AD3F3-149A-8763-8D8B-2BC19C278A01}"/>
                    </a:ext>
                  </a:extLst>
                </p:cNvPr>
                <p:cNvSpPr txBox="1"/>
                <p:nvPr/>
              </p:nvSpPr>
              <p:spPr>
                <a:xfrm>
                  <a:off x="-657053" y="6566200"/>
                  <a:ext cx="1699799" cy="13851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a-DK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GT Walsheim Pro"/>
                      <a:ea typeface="+mn-ea"/>
                      <a:cs typeface="+mn-cs"/>
                    </a:rPr>
                    <a:t>TTW other GHG (CH4+NO2)</a:t>
                  </a:r>
                </a:p>
              </p:txBody>
            </p:sp>
            <p:sp>
              <p:nvSpPr>
                <p:cNvPr id="139" name="TextBox 138">
                  <a:extLst>
                    <a:ext uri="{FF2B5EF4-FFF2-40B4-BE49-F238E27FC236}">
                      <a16:creationId xmlns:a16="http://schemas.microsoft.com/office/drawing/2014/main" id="{56124446-1DA7-A53F-C129-FB629BEFDDBF}"/>
                    </a:ext>
                  </a:extLst>
                </p:cNvPr>
                <p:cNvSpPr txBox="1"/>
                <p:nvPr/>
              </p:nvSpPr>
              <p:spPr>
                <a:xfrm>
                  <a:off x="-639572" y="6727562"/>
                  <a:ext cx="1358317" cy="13851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a-DK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GT Walsheim Pro"/>
                      <a:ea typeface="+mn-ea"/>
                      <a:cs typeface="+mn-cs"/>
                    </a:rPr>
                    <a:t>Savings</a:t>
                  </a:r>
                </a:p>
              </p:txBody>
            </p:sp>
            <p:sp>
              <p:nvSpPr>
                <p:cNvPr id="140" name="TextBox 139">
                  <a:extLst>
                    <a:ext uri="{FF2B5EF4-FFF2-40B4-BE49-F238E27FC236}">
                      <a16:creationId xmlns:a16="http://schemas.microsoft.com/office/drawing/2014/main" id="{CE967738-9392-CA48-80B2-6E25CFC766BC}"/>
                    </a:ext>
                  </a:extLst>
                </p:cNvPr>
                <p:cNvSpPr txBox="1"/>
                <p:nvPr/>
              </p:nvSpPr>
              <p:spPr>
                <a:xfrm>
                  <a:off x="-630557" y="6897394"/>
                  <a:ext cx="1358317" cy="13851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a-DK" sz="9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GT Walsheim Pro"/>
                      <a:ea typeface="+mn-ea"/>
                      <a:cs typeface="+mn-cs"/>
                    </a:rPr>
                    <a:t>Increase</a:t>
                  </a:r>
                </a:p>
              </p:txBody>
            </p:sp>
          </p:grpSp>
        </p:grpSp>
      </p:grpSp>
      <p:sp>
        <p:nvSpPr>
          <p:cNvPr id="146" name="Rectangle 145">
            <a:extLst>
              <a:ext uri="{FF2B5EF4-FFF2-40B4-BE49-F238E27FC236}">
                <a16:creationId xmlns:a16="http://schemas.microsoft.com/office/drawing/2014/main" id="{DBA1210A-071D-1918-E884-42107FE0850F}"/>
              </a:ext>
            </a:extLst>
          </p:cNvPr>
          <p:cNvSpPr/>
          <p:nvPr/>
        </p:nvSpPr>
        <p:spPr>
          <a:xfrm>
            <a:off x="2558113" y="1993900"/>
            <a:ext cx="725707" cy="1825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A9A01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-99%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1C48B858-09E8-45F5-9FD8-33270B8FABB6}"/>
              </a:ext>
            </a:extLst>
          </p:cNvPr>
          <p:cNvSpPr/>
          <p:nvPr/>
        </p:nvSpPr>
        <p:spPr>
          <a:xfrm>
            <a:off x="2826105" y="2285632"/>
            <a:ext cx="725707" cy="1809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A9A01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-92%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3EBB7379-7CC5-7A4B-10EB-88C4256292D8}"/>
              </a:ext>
            </a:extLst>
          </p:cNvPr>
          <p:cNvSpPr/>
          <p:nvPr/>
        </p:nvSpPr>
        <p:spPr>
          <a:xfrm>
            <a:off x="2896284" y="2583114"/>
            <a:ext cx="725707" cy="1809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A9A01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-89%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322404FC-D1F2-1013-9C1A-408B11FDC746}"/>
              </a:ext>
            </a:extLst>
          </p:cNvPr>
          <p:cNvSpPr/>
          <p:nvPr/>
        </p:nvSpPr>
        <p:spPr>
          <a:xfrm>
            <a:off x="3173867" y="2903907"/>
            <a:ext cx="725707" cy="1809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A9A01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-83%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07320119-F335-E78C-C86A-D968BF462528}"/>
              </a:ext>
            </a:extLst>
          </p:cNvPr>
          <p:cNvSpPr/>
          <p:nvPr/>
        </p:nvSpPr>
        <p:spPr>
          <a:xfrm>
            <a:off x="3728818" y="3219450"/>
            <a:ext cx="725707" cy="1809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A9A01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-65%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B6EF3AFC-7A5F-4C0F-98E8-CB25439FD14C}"/>
              </a:ext>
            </a:extLst>
          </p:cNvPr>
          <p:cNvSpPr/>
          <p:nvPr/>
        </p:nvSpPr>
        <p:spPr>
          <a:xfrm>
            <a:off x="5370293" y="3811649"/>
            <a:ext cx="725707" cy="1772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A9A01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-17%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C2419A69-BC95-4125-4FBD-767722950BD8}"/>
              </a:ext>
            </a:extLst>
          </p:cNvPr>
          <p:cNvSpPr/>
          <p:nvPr/>
        </p:nvSpPr>
        <p:spPr>
          <a:xfrm>
            <a:off x="5466117" y="4129338"/>
            <a:ext cx="725707" cy="1809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A9A01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-16%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52352BE1-3659-95A2-5C8A-DD8CEAD1A3F2}"/>
              </a:ext>
            </a:extLst>
          </p:cNvPr>
          <p:cNvSpPr/>
          <p:nvPr/>
        </p:nvSpPr>
        <p:spPr>
          <a:xfrm>
            <a:off x="5957027" y="4437944"/>
            <a:ext cx="725707" cy="1809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A9A01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-3%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DD7C5F43-BBCC-45F2-59D8-0FCD25F0EE86}"/>
              </a:ext>
            </a:extLst>
          </p:cNvPr>
          <p:cNvSpPr/>
          <p:nvPr/>
        </p:nvSpPr>
        <p:spPr>
          <a:xfrm>
            <a:off x="6038591" y="5077072"/>
            <a:ext cx="725707" cy="1809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6D140E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1%</a:t>
            </a: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95AE16AA-23C8-23DA-F3D6-701622B1305B}"/>
              </a:ext>
            </a:extLst>
          </p:cNvPr>
          <p:cNvSpPr/>
          <p:nvPr/>
        </p:nvSpPr>
        <p:spPr>
          <a:xfrm>
            <a:off x="6401445" y="5371809"/>
            <a:ext cx="725707" cy="1809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6D140E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12%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8BE176D7-0A2F-52C5-86D7-46EA85DD59D7}"/>
              </a:ext>
            </a:extLst>
          </p:cNvPr>
          <p:cNvSpPr/>
          <p:nvPr/>
        </p:nvSpPr>
        <p:spPr>
          <a:xfrm>
            <a:off x="6961761" y="5673221"/>
            <a:ext cx="725707" cy="1809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6D140E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28%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47972F6C-7DAA-3D9F-1D31-B6BB1996EDEE}"/>
              </a:ext>
            </a:extLst>
          </p:cNvPr>
          <p:cNvSpPr/>
          <p:nvPr/>
        </p:nvSpPr>
        <p:spPr>
          <a:xfrm>
            <a:off x="7547691" y="5982963"/>
            <a:ext cx="725707" cy="1809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6D140E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45%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5D63092B-5A1D-EE4E-1496-2438260FD1DE}"/>
              </a:ext>
            </a:extLst>
          </p:cNvPr>
          <p:cNvSpPr/>
          <p:nvPr/>
        </p:nvSpPr>
        <p:spPr>
          <a:xfrm>
            <a:off x="6626405" y="2782888"/>
            <a:ext cx="230400" cy="9683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7A9A01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%</a:t>
            </a:r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A092D125-FCEF-1C5F-61D1-ADBA10A7ADC4}"/>
              </a:ext>
            </a:extLst>
          </p:cNvPr>
          <p:cNvSpPr/>
          <p:nvPr/>
        </p:nvSpPr>
        <p:spPr>
          <a:xfrm>
            <a:off x="6618093" y="2963863"/>
            <a:ext cx="230400" cy="984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>
                <a:ln>
                  <a:noFill/>
                </a:ln>
                <a:solidFill>
                  <a:srgbClr val="6D140E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%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5D5A7629-0C2A-6D7E-306C-5105C514487E}"/>
              </a:ext>
            </a:extLst>
          </p:cNvPr>
          <p:cNvSpPr txBox="1"/>
          <p:nvPr/>
        </p:nvSpPr>
        <p:spPr>
          <a:xfrm>
            <a:off x="9138969" y="2176463"/>
            <a:ext cx="2866524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The way in which emissions from shipping are calculated is changing to reflect the full life cycle profile from production through to consumption on board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This form of lifecycle assessment (known as well-to-wake) allows for a holistic approach to carbon assessment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Whereas FUEM is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WtW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, ETS is only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TtW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.</a:t>
            </a:r>
          </a:p>
        </p:txBody>
      </p: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063262B7-DE86-6C23-6EBC-0E5AF0B25E65}"/>
              </a:ext>
            </a:extLst>
          </p:cNvPr>
          <p:cNvCxnSpPr>
            <a:cxnSpLocks/>
          </p:cNvCxnSpPr>
          <p:nvPr/>
        </p:nvCxnSpPr>
        <p:spPr>
          <a:xfrm>
            <a:off x="8842375" y="2108795"/>
            <a:ext cx="0" cy="334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Oval 196">
            <a:extLst>
              <a:ext uri="{FF2B5EF4-FFF2-40B4-BE49-F238E27FC236}">
                <a16:creationId xmlns:a16="http://schemas.microsoft.com/office/drawing/2014/main" id="{F7B4F20E-1400-65F1-73DF-EF4797513EFE}"/>
              </a:ext>
            </a:extLst>
          </p:cNvPr>
          <p:cNvSpPr>
            <a:spLocks/>
          </p:cNvSpPr>
          <p:nvPr/>
        </p:nvSpPr>
        <p:spPr>
          <a:xfrm>
            <a:off x="8659015" y="3524339"/>
            <a:ext cx="324000" cy="324000"/>
          </a:xfrm>
          <a:prstGeom prst="ellipse">
            <a:avLst/>
          </a:prstGeom>
          <a:solidFill>
            <a:srgbClr val="001C36"/>
          </a:solidFill>
          <a:ln>
            <a:solidFill>
              <a:srgbClr val="001C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marL="0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198" name="Half Frame 197">
            <a:extLst>
              <a:ext uri="{FF2B5EF4-FFF2-40B4-BE49-F238E27FC236}">
                <a16:creationId xmlns:a16="http://schemas.microsoft.com/office/drawing/2014/main" id="{508EC0D7-8444-7F07-4391-3C99E7A63483}"/>
              </a:ext>
            </a:extLst>
          </p:cNvPr>
          <p:cNvSpPr/>
          <p:nvPr/>
        </p:nvSpPr>
        <p:spPr>
          <a:xfrm rot="8100000">
            <a:off x="8770508" y="3607184"/>
            <a:ext cx="96782" cy="111718"/>
          </a:xfrm>
          <a:prstGeom prst="halfFrame">
            <a:avLst>
              <a:gd name="adj1" fmla="val 4890"/>
              <a:gd name="adj2" fmla="val 6213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>
            <a:defPPr>
              <a:defRPr lang="en-US"/>
            </a:defPPr>
            <a:lvl1pPr marL="0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11024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22048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93307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244097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555121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866145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177169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488193" algn="l" defTabSz="622048" rtl="0" eaLnBrk="1" latinLnBrk="0" hangingPunct="1">
              <a:defRPr sz="1225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622048" rtl="0" eaLnBrk="1" fontAlgn="auto" latinLnBrk="0" hangingPunct="1">
              <a:lnSpc>
                <a:spcPct val="9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0C62397-46AA-9758-D519-3DE29879A1F9}"/>
              </a:ext>
            </a:extLst>
          </p:cNvPr>
          <p:cNvSpPr/>
          <p:nvPr/>
        </p:nvSpPr>
        <p:spPr>
          <a:xfrm>
            <a:off x="5057159" y="3509112"/>
            <a:ext cx="725707" cy="1772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7A9A01"/>
                </a:solidFill>
                <a:effectLst/>
                <a:uLnTx/>
                <a:uFillTx/>
                <a:latin typeface="GT Walsheim Pro"/>
                <a:ea typeface="+mn-ea"/>
                <a:cs typeface="+mn-cs"/>
              </a:rPr>
              <a:t>-27%</a:t>
            </a:r>
          </a:p>
        </p:txBody>
      </p:sp>
    </p:spTree>
    <p:extLst>
      <p:ext uri="{BB962C8B-B14F-4D97-AF65-F5344CB8AC3E}">
        <p14:creationId xmlns:p14="http://schemas.microsoft.com/office/powerpoint/2010/main" val="1362230078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0B8221-D0CC-5854-9AF1-06FD2BA41A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UM vs. EU E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25BCC1-297E-817B-DB2D-3E32CB43AE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xemp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mall islands &lt; 200,000 resident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SO connections between island MS and another MS and between an island and the mainland of the same M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utermost regions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transhipment</a:t>
            </a:r>
            <a:r>
              <a:rPr lang="en-US" dirty="0"/>
              <a:t> ports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ce class ships and ships navigating in i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ffshore vessels exempted for now but could be included when FEUM is revised. </a:t>
            </a:r>
          </a:p>
          <a:p>
            <a:r>
              <a:rPr lang="en-US" dirty="0"/>
              <a:t>Legal ent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DoC</a:t>
            </a:r>
            <a:r>
              <a:rPr lang="en-US" dirty="0"/>
              <a:t> holder (ETS: the shipowner remains the ultimate responsible entity unless mandated (via contract) to a third party/ship manager)</a:t>
            </a:r>
          </a:p>
          <a:p>
            <a:r>
              <a:rPr lang="en-US" dirty="0"/>
              <a:t>Onshore Power Supply (OP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tainer and passenger ships from 2030 (moored for more than 2 hours in a TEN-T port)</a:t>
            </a:r>
          </a:p>
          <a:p>
            <a:r>
              <a:rPr lang="en-US" dirty="0"/>
              <a:t>Enforc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TS: compliance </a:t>
            </a:r>
            <a:r>
              <a:rPr lang="en-US" dirty="0" err="1"/>
              <a:t>linke</a:t>
            </a:r>
            <a:r>
              <a:rPr lang="en-US" dirty="0"/>
              <a:t> to the ‘company’ </a:t>
            </a:r>
            <a:r>
              <a:rPr lang="en-US" dirty="0" err="1"/>
              <a:t>ie</a:t>
            </a:r>
            <a:r>
              <a:rPr lang="en-US" dirty="0"/>
              <a:t>. all vessels under the same </a:t>
            </a:r>
            <a:r>
              <a:rPr lang="en-US" dirty="0" err="1"/>
              <a:t>sm</a:t>
            </a:r>
            <a:r>
              <a:rPr lang="en-US" dirty="0"/>
              <a:t>/owner etc.  – FEUM: compliance linked to the vessel highlighting the need for contractual arrangements with third party manager, new owner etc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7037E6-644F-8CC1-8C82-B991B74423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/>
              <a:pPr/>
              <a:t>7</a:t>
            </a:fld>
            <a:endParaRPr lang="da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5DE820-8E82-C676-1C65-6AB2D6FF63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95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A69E71-EA85-8C85-D6E3-59DEF60469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A69E71-EA85-8C85-D6E3-59DEF60469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81D6B7A-B1A8-732B-A5FD-077C42B5E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EU ETS and </a:t>
            </a:r>
            <a:r>
              <a:rPr lang="en-US" dirty="0" err="1"/>
              <a:t>FuelEU</a:t>
            </a:r>
            <a:r>
              <a:rPr lang="en-US" dirty="0"/>
              <a:t> maritime: regional scop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E0207EF-D30C-252B-3DE1-B884B43DB9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BC3415-6A21-2E49-A058-D443F991EEAB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1E3B">
                    <a:tint val="75000"/>
                  </a:srgbClr>
                </a:solidFill>
                <a:effectLst/>
                <a:uLnTx/>
                <a:uFillTx/>
                <a:latin typeface="GT Walsheim Pro Light" pitchFamily="2" charset="77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1E3B">
                  <a:tint val="75000"/>
                </a:srgbClr>
              </a:solidFill>
              <a:effectLst/>
              <a:uLnTx/>
              <a:uFillTx/>
              <a:latin typeface="GT Walsheim Pro Light" pitchFamily="2" charset="77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68E4B25-AD40-B949-CB2D-BD6BF715BCDA}"/>
              </a:ext>
            </a:extLst>
          </p:cNvPr>
          <p:cNvSpPr txBox="1"/>
          <p:nvPr/>
        </p:nvSpPr>
        <p:spPr>
          <a:xfrm>
            <a:off x="515937" y="1454331"/>
            <a:ext cx="11160125" cy="6909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1E3B"/>
                </a:solidFill>
                <a:latin typeface="GT Walsheim Pro"/>
                <a:ea typeface="Calibri" panose="020F0502020204030204" pitchFamily="34" charset="0"/>
                <a:cs typeface="Arial" panose="020B0604020202020204" pitchFamily="34" charset="0"/>
              </a:rPr>
              <a:t>Both regulations cover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Calibri" panose="020F0502020204030204" pitchFamily="34" charset="0"/>
                <a:cs typeface="Arial" panose="020B0604020202020204" pitchFamily="34" charset="0"/>
              </a:rPr>
              <a:t>100% of emissions on voyages and port calls within the EU/EEA, and 50% of emissions on voyages into or out of the EU/EEA.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1E3B"/>
              </a:solidFill>
              <a:effectLst/>
              <a:uLnTx/>
              <a:uFillTx/>
              <a:latin typeface="GT Walsheim Pro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5B83ED2-EE9C-B198-4B59-82FDFD06A1E7}"/>
              </a:ext>
            </a:extLst>
          </p:cNvPr>
          <p:cNvSpPr txBox="1"/>
          <p:nvPr/>
        </p:nvSpPr>
        <p:spPr>
          <a:xfrm>
            <a:off x="7861956" y="2811861"/>
            <a:ext cx="3814108" cy="10388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D59861"/>
                </a:solidFill>
                <a:effectLst/>
                <a:uLnTx/>
                <a:uFillTx/>
                <a:latin typeface="GT Walsheim Pro"/>
                <a:ea typeface="+mn-ea"/>
                <a:cs typeface="Arial" panose="020B0604020202020204" pitchFamily="34" charset="0"/>
              </a:rPr>
              <a:t>Port of call: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D59861"/>
                </a:solidFill>
                <a:effectLst/>
                <a:uLnTx/>
                <a:uFillTx/>
                <a:latin typeface="GT Walsheim Pro"/>
                <a:ea typeface="+mn-ea"/>
                <a:cs typeface="Arial" panose="020B0604020202020204" pitchFamily="34" charset="0"/>
              </a:rPr>
              <a:t> </a:t>
            </a:r>
            <a:b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Arial" panose="020B0604020202020204" pitchFamily="34" charset="0"/>
              </a:rPr>
            </a:b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Arial" panose="020B0604020202020204" pitchFamily="34" charset="0"/>
              </a:rPr>
              <a:t>A port where a ship stops to load/unload cargo or passengers.</a:t>
            </a: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1E3B"/>
              </a:solidFill>
              <a:effectLst/>
              <a:uLnTx/>
              <a:uFillTx/>
              <a:latin typeface="GT Walsheim Pro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1732C7-9BD4-B195-A327-4B00ED903632}"/>
              </a:ext>
            </a:extLst>
          </p:cNvPr>
          <p:cNvSpPr txBox="1"/>
          <p:nvPr/>
        </p:nvSpPr>
        <p:spPr>
          <a:xfrm>
            <a:off x="7861956" y="4074403"/>
            <a:ext cx="3814108" cy="17156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D59861"/>
                </a:solidFill>
                <a:effectLst/>
                <a:uLnTx/>
                <a:uFillTx/>
                <a:latin typeface="GT Walsheim Pro"/>
                <a:ea typeface="+mn-ea"/>
                <a:cs typeface="Arial" panose="020B0604020202020204" pitchFamily="34" charset="0"/>
              </a:rPr>
              <a:t>To prevent evasive behaviour:</a:t>
            </a:r>
            <a:b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Arial" panose="020B0604020202020204" pitchFamily="34" charset="0"/>
              </a:rPr>
            </a:b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Arial" panose="020B0604020202020204" pitchFamily="34" charset="0"/>
              </a:rPr>
              <a:t>Neighbouring container transshipment ports within 300nm from an EU port, where transshipment operations &gt;65% of total traffic, will be included (50% of voyages, e.g., East Port Said and </a:t>
            </a:r>
            <a:r>
              <a:rPr kumimoji="0" lang="en-GB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Arial" panose="020B0604020202020204" pitchFamily="34" charset="0"/>
              </a:rPr>
              <a:t>MedPort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1E3B"/>
                </a:solidFill>
                <a:effectLst/>
                <a:uLnTx/>
                <a:uFillTx/>
                <a:latin typeface="GT Walsheim Pro"/>
                <a:ea typeface="+mn-ea"/>
                <a:cs typeface="Arial" panose="020B0604020202020204" pitchFamily="34" charset="0"/>
              </a:rPr>
              <a:t> Tangier have already been included).  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1E3B"/>
              </a:solidFill>
              <a:effectLst/>
              <a:uLnTx/>
              <a:uFillTx/>
              <a:latin typeface="GT Walsheim Pro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1E3B"/>
              </a:solidFill>
              <a:effectLst/>
              <a:uLnTx/>
              <a:uFillTx/>
              <a:latin typeface="GT Walsheim Pro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550CD71-C20C-372B-191A-9E6CE9F10C2F}"/>
              </a:ext>
            </a:extLst>
          </p:cNvPr>
          <p:cNvSpPr txBox="1">
            <a:spLocks/>
          </p:cNvSpPr>
          <p:nvPr/>
        </p:nvSpPr>
        <p:spPr>
          <a:xfrm>
            <a:off x="515938" y="6141250"/>
            <a:ext cx="3572119" cy="4803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" panose="00000500000000000000" pitchFamily="50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" panose="00000500000000000000" pitchFamily="50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" panose="00000500000000000000" pitchFamily="50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" panose="00000500000000000000" pitchFamily="50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 baseline="0">
                <a:solidFill>
                  <a:schemeClr val="tx1"/>
                </a:solidFill>
                <a:latin typeface="GT Walsheim Pro" panose="00000500000000000000" pitchFamily="50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 dirty="0">
                <a:ln>
                  <a:noFill/>
                </a:ln>
                <a:solidFill>
                  <a:srgbClr val="DA281C">
                    <a:lumMod val="50000"/>
                  </a:srgbClr>
                </a:solidFill>
                <a:effectLst/>
                <a:uLnTx/>
                <a:uFillTx/>
                <a:latin typeface="GT Walsheim Pro" panose="00000500000000000000" pitchFamily="50" charset="0"/>
                <a:ea typeface="+mn-ea"/>
                <a:cs typeface="Arial" panose="020B0604020202020204" pitchFamily="34" charset="0"/>
              </a:rPr>
              <a:t>Source: DNV, 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solidFill>
                  <a:srgbClr val="DA281C">
                    <a:lumMod val="50000"/>
                  </a:srgbClr>
                </a:solidFill>
                <a:effectLst/>
                <a:uLnTx/>
                <a:uFillTx/>
                <a:latin typeface="GT Walsheim Pro" panose="00000500000000000000" pitchFamily="50" charset="0"/>
                <a:ea typeface="+mn-ea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U ETS – Emissions Trading System</a:t>
            </a:r>
            <a:endParaRPr kumimoji="0" lang="en-US" sz="1050" b="0" i="1" u="none" strike="noStrike" kern="1200" cap="none" spc="0" normalizeH="0" baseline="0" noProof="0" dirty="0">
              <a:ln>
                <a:noFill/>
              </a:ln>
              <a:solidFill>
                <a:srgbClr val="DA281C">
                  <a:lumMod val="50000"/>
                </a:srgbClr>
              </a:solidFill>
              <a:effectLst/>
              <a:uLnTx/>
              <a:uFillTx/>
              <a:latin typeface="GT Walsheim Pro" panose="00000500000000000000" pitchFamily="50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50" b="0" i="1" u="none" strike="noStrike" kern="1200" cap="none" spc="0" normalizeH="0" baseline="0" noProof="0" dirty="0">
              <a:ln>
                <a:noFill/>
              </a:ln>
              <a:solidFill>
                <a:srgbClr val="DA281C">
                  <a:lumMod val="50000"/>
                </a:srgbClr>
              </a:solidFill>
              <a:effectLst/>
              <a:uLnTx/>
              <a:uFillTx/>
              <a:latin typeface="GT Walsheim Pro" panose="00000500000000000000" pitchFamily="50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Picture 2" descr="EU ETS – Emissions Trading System - DNV">
            <a:extLst>
              <a:ext uri="{FF2B5EF4-FFF2-40B4-BE49-F238E27FC236}">
                <a16:creationId xmlns:a16="http://schemas.microsoft.com/office/drawing/2014/main" id="{C73B32E5-EA59-23C5-A9F4-F403A5C60F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72"/>
          <a:stretch/>
        </p:blipFill>
        <p:spPr bwMode="auto">
          <a:xfrm>
            <a:off x="515936" y="2145260"/>
            <a:ext cx="7269527" cy="3947565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917279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3C52A0B-7B2E-FBDC-1DD0-F763F2C3EE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41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C52A0B-7B2E-FBDC-1DD0-F763F2C3EE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166206-5DE8-F716-7D37-F8B6FFE3F20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BC3415-6A21-2E49-A058-D443F991EEAB}" type="slidenum">
              <a:rPr lang="da-DK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da-DK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D8F5E28-7486-0FF1-F747-E3588E430857}"/>
              </a:ext>
            </a:extLst>
          </p:cNvPr>
          <p:cNvGrpSpPr/>
          <p:nvPr/>
        </p:nvGrpSpPr>
        <p:grpSpPr>
          <a:xfrm>
            <a:off x="904606" y="1545579"/>
            <a:ext cx="10431157" cy="3965098"/>
            <a:chOff x="964946" y="1344251"/>
            <a:chExt cx="10370820" cy="4688840"/>
          </a:xfrm>
        </p:grpSpPr>
        <p:sp>
          <p:nvSpPr>
            <p:cNvPr id="25" name="object 6">
              <a:extLst>
                <a:ext uri="{FF2B5EF4-FFF2-40B4-BE49-F238E27FC236}">
                  <a16:creationId xmlns:a16="http://schemas.microsoft.com/office/drawing/2014/main" id="{55EB16E2-2470-BA22-063A-FBCBEDF13CB8}"/>
                </a:ext>
              </a:extLst>
            </p:cNvPr>
            <p:cNvSpPr/>
            <p:nvPr/>
          </p:nvSpPr>
          <p:spPr>
            <a:xfrm>
              <a:off x="971296" y="1350606"/>
              <a:ext cx="10358120" cy="506730"/>
            </a:xfrm>
            <a:custGeom>
              <a:avLst/>
              <a:gdLst/>
              <a:ahLst/>
              <a:cxnLst/>
              <a:rect l="l" t="t" r="r" b="b"/>
              <a:pathLst>
                <a:path w="10358120" h="506730">
                  <a:moveTo>
                    <a:pt x="10358107" y="0"/>
                  </a:moveTo>
                  <a:lnTo>
                    <a:pt x="10358107" y="0"/>
                  </a:lnTo>
                  <a:lnTo>
                    <a:pt x="0" y="0"/>
                  </a:lnTo>
                  <a:lnTo>
                    <a:pt x="0" y="506285"/>
                  </a:lnTo>
                  <a:lnTo>
                    <a:pt x="10358107" y="506285"/>
                  </a:lnTo>
                  <a:lnTo>
                    <a:pt x="10358107" y="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/>
            <a:lstStyle/>
            <a:p>
              <a:r>
                <a:rPr lang="da-DK">
                  <a:latin typeface="Arial" panose="020B0604020202020204" pitchFamily="34" charset="0"/>
                  <a:cs typeface="Arial" panose="020B0604020202020204" pitchFamily="34" charset="0"/>
                </a:rPr>
                <a:t>   </a:t>
              </a:r>
              <a:r>
                <a:rPr lang="da-DK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5	    2026	    2027       2028       2029	     2030	      2031	      2032	       2033      2034       2035</a:t>
              </a:r>
              <a:endParaRPr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object 7">
              <a:extLst>
                <a:ext uri="{FF2B5EF4-FFF2-40B4-BE49-F238E27FC236}">
                  <a16:creationId xmlns:a16="http://schemas.microsoft.com/office/drawing/2014/main" id="{F436C89D-61E7-D35D-1192-7DBF8FFD8960}"/>
                </a:ext>
              </a:extLst>
            </p:cNvPr>
            <p:cNvSpPr/>
            <p:nvPr/>
          </p:nvSpPr>
          <p:spPr>
            <a:xfrm>
              <a:off x="971296" y="1856892"/>
              <a:ext cx="10358120" cy="962660"/>
            </a:xfrm>
            <a:custGeom>
              <a:avLst/>
              <a:gdLst/>
              <a:ahLst/>
              <a:cxnLst/>
              <a:rect l="l" t="t" r="r" b="b"/>
              <a:pathLst>
                <a:path w="10358120" h="962660">
                  <a:moveTo>
                    <a:pt x="10358107" y="0"/>
                  </a:moveTo>
                  <a:lnTo>
                    <a:pt x="9416466" y="0"/>
                  </a:lnTo>
                  <a:lnTo>
                    <a:pt x="8474812" y="0"/>
                  </a:lnTo>
                  <a:lnTo>
                    <a:pt x="7533170" y="0"/>
                  </a:lnTo>
                  <a:lnTo>
                    <a:pt x="7533170" y="173075"/>
                  </a:lnTo>
                  <a:lnTo>
                    <a:pt x="7533170" y="502259"/>
                  </a:lnTo>
                  <a:lnTo>
                    <a:pt x="6591528" y="502259"/>
                  </a:lnTo>
                  <a:lnTo>
                    <a:pt x="5649874" y="502259"/>
                  </a:lnTo>
                  <a:lnTo>
                    <a:pt x="941641" y="502259"/>
                  </a:lnTo>
                  <a:lnTo>
                    <a:pt x="941641" y="173075"/>
                  </a:lnTo>
                  <a:lnTo>
                    <a:pt x="7533170" y="173075"/>
                  </a:lnTo>
                  <a:lnTo>
                    <a:pt x="7533170" y="0"/>
                  </a:lnTo>
                  <a:lnTo>
                    <a:pt x="0" y="0"/>
                  </a:lnTo>
                  <a:lnTo>
                    <a:pt x="0" y="962101"/>
                  </a:lnTo>
                  <a:lnTo>
                    <a:pt x="10358107" y="962101"/>
                  </a:lnTo>
                  <a:lnTo>
                    <a:pt x="10358107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object 8">
              <a:extLst>
                <a:ext uri="{FF2B5EF4-FFF2-40B4-BE49-F238E27FC236}">
                  <a16:creationId xmlns:a16="http://schemas.microsoft.com/office/drawing/2014/main" id="{BBF3681C-65D9-35C1-7C83-CC4BA8FA7EAE}"/>
                </a:ext>
              </a:extLst>
            </p:cNvPr>
            <p:cNvSpPr/>
            <p:nvPr/>
          </p:nvSpPr>
          <p:spPr>
            <a:xfrm>
              <a:off x="971296" y="2819006"/>
              <a:ext cx="10358120" cy="3208020"/>
            </a:xfrm>
            <a:custGeom>
              <a:avLst/>
              <a:gdLst/>
              <a:ahLst/>
              <a:cxnLst/>
              <a:rect l="l" t="t" r="r" b="b"/>
              <a:pathLst>
                <a:path w="10358120" h="3208020">
                  <a:moveTo>
                    <a:pt x="10358107" y="456920"/>
                  </a:moveTo>
                  <a:lnTo>
                    <a:pt x="9416466" y="456920"/>
                  </a:lnTo>
                  <a:lnTo>
                    <a:pt x="9416466" y="0"/>
                  </a:lnTo>
                  <a:lnTo>
                    <a:pt x="8474812" y="0"/>
                  </a:lnTo>
                  <a:lnTo>
                    <a:pt x="8474812" y="2370086"/>
                  </a:lnTo>
                  <a:lnTo>
                    <a:pt x="8474812" y="3201073"/>
                  </a:lnTo>
                  <a:lnTo>
                    <a:pt x="7533170" y="3201073"/>
                  </a:lnTo>
                  <a:lnTo>
                    <a:pt x="7533170" y="2370086"/>
                  </a:lnTo>
                  <a:lnTo>
                    <a:pt x="8474812" y="2370086"/>
                  </a:lnTo>
                  <a:lnTo>
                    <a:pt x="8474812" y="0"/>
                  </a:lnTo>
                  <a:lnTo>
                    <a:pt x="7533170" y="0"/>
                  </a:lnTo>
                  <a:lnTo>
                    <a:pt x="6591528" y="0"/>
                  </a:lnTo>
                  <a:lnTo>
                    <a:pt x="6591528" y="456920"/>
                  </a:lnTo>
                  <a:lnTo>
                    <a:pt x="6591528" y="1287919"/>
                  </a:lnTo>
                  <a:lnTo>
                    <a:pt x="5649874" y="1287919"/>
                  </a:lnTo>
                  <a:lnTo>
                    <a:pt x="5649874" y="456920"/>
                  </a:lnTo>
                  <a:lnTo>
                    <a:pt x="6591528" y="456920"/>
                  </a:lnTo>
                  <a:lnTo>
                    <a:pt x="6591528" y="0"/>
                  </a:lnTo>
                  <a:lnTo>
                    <a:pt x="0" y="0"/>
                  </a:lnTo>
                  <a:lnTo>
                    <a:pt x="0" y="728370"/>
                  </a:lnTo>
                  <a:lnTo>
                    <a:pt x="941641" y="728370"/>
                  </a:lnTo>
                  <a:lnTo>
                    <a:pt x="1883283" y="728370"/>
                  </a:lnTo>
                  <a:lnTo>
                    <a:pt x="1883283" y="2328799"/>
                  </a:lnTo>
                  <a:lnTo>
                    <a:pt x="941641" y="2328799"/>
                  </a:lnTo>
                  <a:lnTo>
                    <a:pt x="0" y="2328799"/>
                  </a:lnTo>
                  <a:lnTo>
                    <a:pt x="0" y="3207601"/>
                  </a:lnTo>
                  <a:lnTo>
                    <a:pt x="10358107" y="3207601"/>
                  </a:lnTo>
                  <a:lnTo>
                    <a:pt x="10358107" y="1525460"/>
                  </a:lnTo>
                  <a:lnTo>
                    <a:pt x="9416466" y="1525460"/>
                  </a:lnTo>
                  <a:lnTo>
                    <a:pt x="9416466" y="1196276"/>
                  </a:lnTo>
                  <a:lnTo>
                    <a:pt x="10358107" y="1196276"/>
                  </a:lnTo>
                  <a:lnTo>
                    <a:pt x="10358107" y="45692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object 9">
              <a:extLst>
                <a:ext uri="{FF2B5EF4-FFF2-40B4-BE49-F238E27FC236}">
                  <a16:creationId xmlns:a16="http://schemas.microsoft.com/office/drawing/2014/main" id="{B1FCEEFB-F0E6-7A84-8107-D17642B16C9C}"/>
                </a:ext>
              </a:extLst>
            </p:cNvPr>
            <p:cNvSpPr/>
            <p:nvPr/>
          </p:nvSpPr>
          <p:spPr>
            <a:xfrm>
              <a:off x="1912943" y="1344251"/>
              <a:ext cx="8475345" cy="4688840"/>
            </a:xfrm>
            <a:custGeom>
              <a:avLst/>
              <a:gdLst/>
              <a:ahLst/>
              <a:cxnLst/>
              <a:rect l="l" t="t" r="r" b="b"/>
              <a:pathLst>
                <a:path w="8475345" h="4688840">
                  <a:moveTo>
                    <a:pt x="0" y="3803550"/>
                  </a:moveTo>
                  <a:lnTo>
                    <a:pt x="0" y="4688697"/>
                  </a:lnTo>
                </a:path>
                <a:path w="8475345" h="4688840">
                  <a:moveTo>
                    <a:pt x="0" y="1014900"/>
                  </a:moveTo>
                  <a:lnTo>
                    <a:pt x="0" y="2203113"/>
                  </a:lnTo>
                </a:path>
                <a:path w="8475345" h="4688840">
                  <a:moveTo>
                    <a:pt x="0" y="0"/>
                  </a:moveTo>
                  <a:lnTo>
                    <a:pt x="0" y="685716"/>
                  </a:lnTo>
                </a:path>
                <a:path w="8475345" h="4688840">
                  <a:moveTo>
                    <a:pt x="941647" y="3803550"/>
                  </a:moveTo>
                  <a:lnTo>
                    <a:pt x="941647" y="4688697"/>
                  </a:lnTo>
                </a:path>
                <a:path w="8475345" h="4688840">
                  <a:moveTo>
                    <a:pt x="941647" y="1014900"/>
                  </a:moveTo>
                  <a:lnTo>
                    <a:pt x="941647" y="2203113"/>
                  </a:lnTo>
                </a:path>
                <a:path w="8475345" h="4688840">
                  <a:moveTo>
                    <a:pt x="941647" y="0"/>
                  </a:moveTo>
                  <a:lnTo>
                    <a:pt x="941647" y="685716"/>
                  </a:lnTo>
                </a:path>
                <a:path w="8475345" h="4688840">
                  <a:moveTo>
                    <a:pt x="1883294" y="1014900"/>
                  </a:moveTo>
                  <a:lnTo>
                    <a:pt x="1883294" y="4688697"/>
                  </a:lnTo>
                </a:path>
                <a:path w="8475345" h="4688840">
                  <a:moveTo>
                    <a:pt x="1883294" y="0"/>
                  </a:moveTo>
                  <a:lnTo>
                    <a:pt x="1883294" y="685716"/>
                  </a:lnTo>
                </a:path>
                <a:path w="8475345" h="4688840">
                  <a:moveTo>
                    <a:pt x="2824941" y="1014900"/>
                  </a:moveTo>
                  <a:lnTo>
                    <a:pt x="2824941" y="4688697"/>
                  </a:lnTo>
                </a:path>
                <a:path w="8475345" h="4688840">
                  <a:moveTo>
                    <a:pt x="2824941" y="0"/>
                  </a:moveTo>
                  <a:lnTo>
                    <a:pt x="2824941" y="685716"/>
                  </a:lnTo>
                </a:path>
                <a:path w="8475345" h="4688840">
                  <a:moveTo>
                    <a:pt x="3766588" y="1014900"/>
                  </a:moveTo>
                  <a:lnTo>
                    <a:pt x="3766588" y="4688697"/>
                  </a:lnTo>
                </a:path>
                <a:path w="8475345" h="4688840">
                  <a:moveTo>
                    <a:pt x="3766588" y="0"/>
                  </a:moveTo>
                  <a:lnTo>
                    <a:pt x="3766588" y="685716"/>
                  </a:lnTo>
                </a:path>
                <a:path w="8475345" h="4688840">
                  <a:moveTo>
                    <a:pt x="4708235" y="2762666"/>
                  </a:moveTo>
                  <a:lnTo>
                    <a:pt x="4708235" y="4688697"/>
                  </a:lnTo>
                </a:path>
                <a:path w="8475345" h="4688840">
                  <a:moveTo>
                    <a:pt x="4708235" y="1014900"/>
                  </a:moveTo>
                  <a:lnTo>
                    <a:pt x="4708235" y="1931670"/>
                  </a:lnTo>
                </a:path>
                <a:path w="8475345" h="4688840">
                  <a:moveTo>
                    <a:pt x="4708235" y="0"/>
                  </a:moveTo>
                  <a:lnTo>
                    <a:pt x="4708235" y="685716"/>
                  </a:lnTo>
                </a:path>
                <a:path w="8475345" h="4688840">
                  <a:moveTo>
                    <a:pt x="5649882" y="2762666"/>
                  </a:moveTo>
                  <a:lnTo>
                    <a:pt x="5649882" y="4688697"/>
                  </a:lnTo>
                </a:path>
                <a:path w="8475345" h="4688840">
                  <a:moveTo>
                    <a:pt x="5649882" y="1014900"/>
                  </a:moveTo>
                  <a:lnTo>
                    <a:pt x="5649882" y="1931670"/>
                  </a:lnTo>
                </a:path>
                <a:path w="8475345" h="4688840">
                  <a:moveTo>
                    <a:pt x="5649882" y="0"/>
                  </a:moveTo>
                  <a:lnTo>
                    <a:pt x="5649882" y="685716"/>
                  </a:lnTo>
                </a:path>
                <a:path w="8475345" h="4688840">
                  <a:moveTo>
                    <a:pt x="6591529" y="4675826"/>
                  </a:moveTo>
                  <a:lnTo>
                    <a:pt x="6591529" y="4688697"/>
                  </a:lnTo>
                </a:path>
                <a:path w="8475345" h="4688840">
                  <a:moveTo>
                    <a:pt x="6591529" y="3804451"/>
                  </a:moveTo>
                  <a:lnTo>
                    <a:pt x="6591529" y="3844829"/>
                  </a:lnTo>
                </a:path>
                <a:path w="8475345" h="4688840">
                  <a:moveTo>
                    <a:pt x="6591529" y="1014900"/>
                  </a:moveTo>
                  <a:lnTo>
                    <a:pt x="6591529" y="3502699"/>
                  </a:lnTo>
                </a:path>
                <a:path w="8475345" h="4688840">
                  <a:moveTo>
                    <a:pt x="6591529" y="0"/>
                  </a:moveTo>
                  <a:lnTo>
                    <a:pt x="6591529" y="685716"/>
                  </a:lnTo>
                </a:path>
                <a:path w="8475345" h="4688840">
                  <a:moveTo>
                    <a:pt x="7533176" y="4675826"/>
                  </a:moveTo>
                  <a:lnTo>
                    <a:pt x="7533176" y="4688697"/>
                  </a:lnTo>
                </a:path>
                <a:path w="8475345" h="4688840">
                  <a:moveTo>
                    <a:pt x="7533176" y="0"/>
                  </a:moveTo>
                  <a:lnTo>
                    <a:pt x="7533176" y="3844829"/>
                  </a:lnTo>
                </a:path>
                <a:path w="8475345" h="4688840">
                  <a:moveTo>
                    <a:pt x="8474823" y="3000209"/>
                  </a:moveTo>
                  <a:lnTo>
                    <a:pt x="8474823" y="4688697"/>
                  </a:lnTo>
                </a:path>
                <a:path w="8475345" h="4688840">
                  <a:moveTo>
                    <a:pt x="8474823" y="1931668"/>
                  </a:moveTo>
                  <a:lnTo>
                    <a:pt x="8474823" y="2671025"/>
                  </a:lnTo>
                </a:path>
                <a:path w="8475345" h="4688840">
                  <a:moveTo>
                    <a:pt x="8474823" y="0"/>
                  </a:moveTo>
                  <a:lnTo>
                    <a:pt x="8474823" y="1472605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object 10">
              <a:extLst>
                <a:ext uri="{FF2B5EF4-FFF2-40B4-BE49-F238E27FC236}">
                  <a16:creationId xmlns:a16="http://schemas.microsoft.com/office/drawing/2014/main" id="{9E2C7DBF-3216-ABBE-46D6-A14F001C3746}"/>
                </a:ext>
              </a:extLst>
            </p:cNvPr>
            <p:cNvSpPr/>
            <p:nvPr/>
          </p:nvSpPr>
          <p:spPr>
            <a:xfrm>
              <a:off x="964946" y="1856884"/>
              <a:ext cx="10370820" cy="0"/>
            </a:xfrm>
            <a:custGeom>
              <a:avLst/>
              <a:gdLst/>
              <a:ahLst/>
              <a:cxnLst/>
              <a:rect l="l" t="t" r="r" b="b"/>
              <a:pathLst>
                <a:path w="10370820">
                  <a:moveTo>
                    <a:pt x="0" y="0"/>
                  </a:moveTo>
                  <a:lnTo>
                    <a:pt x="10370817" y="0"/>
                  </a:lnTo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object 11">
              <a:extLst>
                <a:ext uri="{FF2B5EF4-FFF2-40B4-BE49-F238E27FC236}">
                  <a16:creationId xmlns:a16="http://schemas.microsoft.com/office/drawing/2014/main" id="{5521FC81-E851-3762-1AB6-67B827AB2043}"/>
                </a:ext>
              </a:extLst>
            </p:cNvPr>
            <p:cNvSpPr/>
            <p:nvPr/>
          </p:nvSpPr>
          <p:spPr>
            <a:xfrm>
              <a:off x="964946" y="2818993"/>
              <a:ext cx="10370820" cy="0"/>
            </a:xfrm>
            <a:custGeom>
              <a:avLst/>
              <a:gdLst/>
              <a:ahLst/>
              <a:cxnLst/>
              <a:rect l="l" t="t" r="r" b="b"/>
              <a:pathLst>
                <a:path w="10370820">
                  <a:moveTo>
                    <a:pt x="0" y="0"/>
                  </a:moveTo>
                  <a:lnTo>
                    <a:pt x="10370817" y="0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object 12">
              <a:extLst>
                <a:ext uri="{FF2B5EF4-FFF2-40B4-BE49-F238E27FC236}">
                  <a16:creationId xmlns:a16="http://schemas.microsoft.com/office/drawing/2014/main" id="{006CF02D-C85F-247D-252F-C8E4ECDB91DC}"/>
                </a:ext>
              </a:extLst>
            </p:cNvPr>
            <p:cNvSpPr/>
            <p:nvPr/>
          </p:nvSpPr>
          <p:spPr>
            <a:xfrm>
              <a:off x="971296" y="1344251"/>
              <a:ext cx="0" cy="4688840"/>
            </a:xfrm>
            <a:custGeom>
              <a:avLst/>
              <a:gdLst/>
              <a:ahLst/>
              <a:cxnLst/>
              <a:rect l="l" t="t" r="r" b="b"/>
              <a:pathLst>
                <a:path h="4688840">
                  <a:moveTo>
                    <a:pt x="0" y="3803550"/>
                  </a:moveTo>
                  <a:lnTo>
                    <a:pt x="0" y="4688697"/>
                  </a:lnTo>
                </a:path>
                <a:path h="4688840">
                  <a:moveTo>
                    <a:pt x="0" y="0"/>
                  </a:moveTo>
                  <a:lnTo>
                    <a:pt x="0" y="2203113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object 13">
              <a:extLst>
                <a:ext uri="{FF2B5EF4-FFF2-40B4-BE49-F238E27FC236}">
                  <a16:creationId xmlns:a16="http://schemas.microsoft.com/office/drawing/2014/main" id="{C7ECCF7D-5F5B-CE32-F7C2-A714D3AD75E6}"/>
                </a:ext>
              </a:extLst>
            </p:cNvPr>
            <p:cNvSpPr/>
            <p:nvPr/>
          </p:nvSpPr>
          <p:spPr>
            <a:xfrm>
              <a:off x="964946" y="1344251"/>
              <a:ext cx="10370820" cy="4688840"/>
            </a:xfrm>
            <a:custGeom>
              <a:avLst/>
              <a:gdLst/>
              <a:ahLst/>
              <a:cxnLst/>
              <a:rect l="l" t="t" r="r" b="b"/>
              <a:pathLst>
                <a:path w="10370820" h="4688840">
                  <a:moveTo>
                    <a:pt x="10364467" y="0"/>
                  </a:moveTo>
                  <a:lnTo>
                    <a:pt x="10364467" y="4688697"/>
                  </a:lnTo>
                </a:path>
                <a:path w="10370820" h="4688840">
                  <a:moveTo>
                    <a:pt x="0" y="6350"/>
                  </a:moveTo>
                  <a:lnTo>
                    <a:pt x="10370817" y="6350"/>
                  </a:lnTo>
                </a:path>
                <a:path w="10370820" h="4688840">
                  <a:moveTo>
                    <a:pt x="0" y="4682347"/>
                  </a:moveTo>
                  <a:lnTo>
                    <a:pt x="10370817" y="4682347"/>
                  </a:lnTo>
                </a:path>
              </a:pathLst>
            </a:custGeom>
            <a:ln w="127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object 14">
              <a:extLst>
                <a:ext uri="{FF2B5EF4-FFF2-40B4-BE49-F238E27FC236}">
                  <a16:creationId xmlns:a16="http://schemas.microsoft.com/office/drawing/2014/main" id="{173440B7-F04A-1E11-2706-2B4C3D4EF265}"/>
                </a:ext>
              </a:extLst>
            </p:cNvPr>
            <p:cNvSpPr/>
            <p:nvPr/>
          </p:nvSpPr>
          <p:spPr>
            <a:xfrm>
              <a:off x="1042416" y="2029967"/>
              <a:ext cx="8339455" cy="329565"/>
            </a:xfrm>
            <a:custGeom>
              <a:avLst/>
              <a:gdLst/>
              <a:ahLst/>
              <a:cxnLst/>
              <a:rect l="l" t="t" r="r" b="b"/>
              <a:pathLst>
                <a:path w="8339455" h="329564">
                  <a:moveTo>
                    <a:pt x="8339328" y="0"/>
                  </a:moveTo>
                  <a:lnTo>
                    <a:pt x="0" y="0"/>
                  </a:lnTo>
                  <a:lnTo>
                    <a:pt x="0" y="329184"/>
                  </a:lnTo>
                  <a:lnTo>
                    <a:pt x="8339328" y="329184"/>
                  </a:lnTo>
                  <a:lnTo>
                    <a:pt x="8339328" y="0"/>
                  </a:lnTo>
                  <a:close/>
                </a:path>
              </a:pathLst>
            </a:custGeom>
            <a:solidFill>
              <a:schemeClr val="accent2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object 15">
              <a:extLst>
                <a:ext uri="{FF2B5EF4-FFF2-40B4-BE49-F238E27FC236}">
                  <a16:creationId xmlns:a16="http://schemas.microsoft.com/office/drawing/2014/main" id="{9BF622EE-C722-1164-384F-2BAE38866187}"/>
                </a:ext>
              </a:extLst>
            </p:cNvPr>
            <p:cNvSpPr/>
            <p:nvPr/>
          </p:nvSpPr>
          <p:spPr>
            <a:xfrm>
              <a:off x="1042416" y="2029967"/>
              <a:ext cx="8339455" cy="329565"/>
            </a:xfrm>
            <a:custGeom>
              <a:avLst/>
              <a:gdLst/>
              <a:ahLst/>
              <a:cxnLst/>
              <a:rect l="l" t="t" r="r" b="b"/>
              <a:pathLst>
                <a:path w="8339455" h="329564">
                  <a:moveTo>
                    <a:pt x="0" y="0"/>
                  </a:moveTo>
                  <a:lnTo>
                    <a:pt x="8339328" y="0"/>
                  </a:lnTo>
                  <a:lnTo>
                    <a:pt x="8339328" y="329184"/>
                  </a:lnTo>
                  <a:lnTo>
                    <a:pt x="0" y="329184"/>
                  </a:lnTo>
                  <a:lnTo>
                    <a:pt x="0" y="0"/>
                  </a:lnTo>
                  <a:close/>
                </a:path>
              </a:pathLst>
            </a:custGeom>
            <a:ln w="12700">
              <a:solidFill>
                <a:srgbClr val="085091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object 16">
              <a:extLst>
                <a:ext uri="{FF2B5EF4-FFF2-40B4-BE49-F238E27FC236}">
                  <a16:creationId xmlns:a16="http://schemas.microsoft.com/office/drawing/2014/main" id="{5409F854-71D1-C713-564D-C847EA6CE3CE}"/>
                </a:ext>
              </a:extLst>
            </p:cNvPr>
            <p:cNvSpPr txBox="1"/>
            <p:nvPr/>
          </p:nvSpPr>
          <p:spPr>
            <a:xfrm>
              <a:off x="2887027" y="2032508"/>
              <a:ext cx="4650105" cy="306328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ultiplier</a:t>
              </a:r>
              <a:r>
                <a:rPr sz="1600" spc="-4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6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=</a:t>
              </a:r>
              <a:r>
                <a:rPr sz="1600" spc="-35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6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sz="1600" spc="-4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6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–</a:t>
              </a:r>
              <a:r>
                <a:rPr sz="1600" spc="-35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6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ergy</a:t>
              </a:r>
              <a:r>
                <a:rPr sz="1600" spc="-4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6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om</a:t>
              </a:r>
              <a:r>
                <a:rPr sz="1600" spc="-35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6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FNBOs</a:t>
              </a:r>
              <a:r>
                <a:rPr sz="1600" spc="-35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6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unts</a:t>
              </a:r>
              <a:r>
                <a:rPr sz="1600" spc="-4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600" spc="-1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wice</a:t>
              </a:r>
              <a:endParaRPr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6" name="object 17">
              <a:extLst>
                <a:ext uri="{FF2B5EF4-FFF2-40B4-BE49-F238E27FC236}">
                  <a16:creationId xmlns:a16="http://schemas.microsoft.com/office/drawing/2014/main" id="{535F833A-D389-D75D-0BEF-18A096FB44D5}"/>
                </a:ext>
              </a:extLst>
            </p:cNvPr>
            <p:cNvGrpSpPr/>
            <p:nvPr/>
          </p:nvGrpSpPr>
          <p:grpSpPr>
            <a:xfrm>
              <a:off x="6638543" y="2834639"/>
              <a:ext cx="914400" cy="302260"/>
              <a:chOff x="6638543" y="2834639"/>
              <a:chExt cx="914400" cy="302260"/>
            </a:xfrm>
          </p:grpSpPr>
          <p:sp>
            <p:nvSpPr>
              <p:cNvPr id="64" name="object 18">
                <a:extLst>
                  <a:ext uri="{FF2B5EF4-FFF2-40B4-BE49-F238E27FC236}">
                    <a16:creationId xmlns:a16="http://schemas.microsoft.com/office/drawing/2014/main" id="{478630BF-7220-4D52-B023-0D53170F11C5}"/>
                  </a:ext>
                </a:extLst>
              </p:cNvPr>
              <p:cNvSpPr/>
              <p:nvPr/>
            </p:nvSpPr>
            <p:spPr>
              <a:xfrm>
                <a:off x="6638543" y="2834639"/>
                <a:ext cx="914400" cy="302260"/>
              </a:xfrm>
              <a:custGeom>
                <a:avLst/>
                <a:gdLst/>
                <a:ahLst/>
                <a:cxnLst/>
                <a:rect l="l" t="t" r="r" b="b"/>
                <a:pathLst>
                  <a:path w="914400" h="302260">
                    <a:moveTo>
                      <a:pt x="914400" y="0"/>
                    </a:moveTo>
                    <a:lnTo>
                      <a:pt x="0" y="0"/>
                    </a:lnTo>
                    <a:lnTo>
                      <a:pt x="0" y="301751"/>
                    </a:lnTo>
                    <a:lnTo>
                      <a:pt x="914400" y="301751"/>
                    </a:lnTo>
                    <a:lnTo>
                      <a:pt x="914400" y="0"/>
                    </a:lnTo>
                    <a:close/>
                  </a:path>
                </a:pathLst>
              </a:custGeom>
              <a:solidFill>
                <a:schemeClr val="accent5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object 19">
                <a:extLst>
                  <a:ext uri="{FF2B5EF4-FFF2-40B4-BE49-F238E27FC236}">
                    <a16:creationId xmlns:a16="http://schemas.microsoft.com/office/drawing/2014/main" id="{26B762D4-E915-6923-0200-450FE22FB4D5}"/>
                  </a:ext>
                </a:extLst>
              </p:cNvPr>
              <p:cNvSpPr/>
              <p:nvPr/>
            </p:nvSpPr>
            <p:spPr>
              <a:xfrm>
                <a:off x="6638543" y="2834639"/>
                <a:ext cx="914400" cy="302260"/>
              </a:xfrm>
              <a:custGeom>
                <a:avLst/>
                <a:gdLst/>
                <a:ahLst/>
                <a:cxnLst/>
                <a:rect l="l" t="t" r="r" b="b"/>
                <a:pathLst>
                  <a:path w="914400" h="302260">
                    <a:moveTo>
                      <a:pt x="0" y="0"/>
                    </a:moveTo>
                    <a:lnTo>
                      <a:pt x="914400" y="0"/>
                    </a:lnTo>
                    <a:lnTo>
                      <a:pt x="914400" y="301752"/>
                    </a:lnTo>
                    <a:lnTo>
                      <a:pt x="0" y="301752"/>
                    </a:lnTo>
                    <a:lnTo>
                      <a:pt x="0" y="0"/>
                    </a:lnTo>
                    <a:close/>
                  </a:path>
                </a:pathLst>
              </a:custGeom>
              <a:ln w="12700">
                <a:solidFill>
                  <a:srgbClr val="085091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7" name="object 20">
              <a:extLst>
                <a:ext uri="{FF2B5EF4-FFF2-40B4-BE49-F238E27FC236}">
                  <a16:creationId xmlns:a16="http://schemas.microsoft.com/office/drawing/2014/main" id="{DCEE5A53-E42C-096A-AC96-BEA9614AA7C2}"/>
                </a:ext>
              </a:extLst>
            </p:cNvPr>
            <p:cNvSpPr txBox="1"/>
            <p:nvPr/>
          </p:nvSpPr>
          <p:spPr>
            <a:xfrm>
              <a:off x="6720299" y="2821941"/>
              <a:ext cx="751205" cy="67028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eck</a:t>
              </a:r>
              <a:r>
                <a:rPr sz="1800" spc="-4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800" spc="-5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8" name="object 21">
              <a:extLst>
                <a:ext uri="{FF2B5EF4-FFF2-40B4-BE49-F238E27FC236}">
                  <a16:creationId xmlns:a16="http://schemas.microsoft.com/office/drawing/2014/main" id="{3C2F4576-08E9-D24C-2375-BD546C6F03EF}"/>
                </a:ext>
              </a:extLst>
            </p:cNvPr>
            <p:cNvGrpSpPr/>
            <p:nvPr/>
          </p:nvGrpSpPr>
          <p:grpSpPr>
            <a:xfrm>
              <a:off x="9464040" y="2816857"/>
              <a:ext cx="1865630" cy="459105"/>
              <a:chOff x="9464040" y="2816857"/>
              <a:chExt cx="1865630" cy="459105"/>
            </a:xfrm>
          </p:grpSpPr>
          <p:sp>
            <p:nvSpPr>
              <p:cNvPr id="62" name="object 22">
                <a:extLst>
                  <a:ext uri="{FF2B5EF4-FFF2-40B4-BE49-F238E27FC236}">
                    <a16:creationId xmlns:a16="http://schemas.microsoft.com/office/drawing/2014/main" id="{E0E669D0-5BA5-0CFB-B83F-400AA034E0B3}"/>
                  </a:ext>
                </a:extLst>
              </p:cNvPr>
              <p:cNvSpPr/>
              <p:nvPr/>
            </p:nvSpPr>
            <p:spPr>
              <a:xfrm>
                <a:off x="9464040" y="2816857"/>
                <a:ext cx="1865630" cy="459105"/>
              </a:xfrm>
              <a:custGeom>
                <a:avLst/>
                <a:gdLst/>
                <a:ahLst/>
                <a:cxnLst/>
                <a:rect l="l" t="t" r="r" b="b"/>
                <a:pathLst>
                  <a:path w="1865629" h="459104">
                    <a:moveTo>
                      <a:pt x="1865372" y="0"/>
                    </a:moveTo>
                    <a:lnTo>
                      <a:pt x="0" y="0"/>
                    </a:lnTo>
                    <a:lnTo>
                      <a:pt x="0" y="459063"/>
                    </a:lnTo>
                    <a:lnTo>
                      <a:pt x="1865372" y="459063"/>
                    </a:lnTo>
                    <a:lnTo>
                      <a:pt x="1865372" y="0"/>
                    </a:lnTo>
                    <a:close/>
                  </a:path>
                </a:pathLst>
              </a:custGeom>
              <a:solidFill>
                <a:schemeClr val="accent6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3" name="object 23">
                <a:extLst>
                  <a:ext uri="{FF2B5EF4-FFF2-40B4-BE49-F238E27FC236}">
                    <a16:creationId xmlns:a16="http://schemas.microsoft.com/office/drawing/2014/main" id="{2DCD2CE9-B6EE-E5BA-CD9E-DD48749DD887}"/>
                  </a:ext>
                </a:extLst>
              </p:cNvPr>
              <p:cNvSpPr/>
              <p:nvPr/>
            </p:nvSpPr>
            <p:spPr>
              <a:xfrm>
                <a:off x="9464040" y="2816857"/>
                <a:ext cx="1865630" cy="459105"/>
              </a:xfrm>
              <a:custGeom>
                <a:avLst/>
                <a:gdLst/>
                <a:ahLst/>
                <a:cxnLst/>
                <a:rect l="l" t="t" r="r" b="b"/>
                <a:pathLst>
                  <a:path w="1865629" h="459104">
                    <a:moveTo>
                      <a:pt x="0" y="0"/>
                    </a:moveTo>
                    <a:lnTo>
                      <a:pt x="1865373" y="0"/>
                    </a:lnTo>
                    <a:lnTo>
                      <a:pt x="1865373" y="459063"/>
                    </a:lnTo>
                    <a:lnTo>
                      <a:pt x="0" y="459063"/>
                    </a:lnTo>
                    <a:lnTo>
                      <a:pt x="0" y="0"/>
                    </a:lnTo>
                    <a:close/>
                  </a:path>
                </a:pathLst>
              </a:custGeom>
              <a:ln w="12700">
                <a:solidFill>
                  <a:srgbClr val="085091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9" name="object 24">
              <a:extLst>
                <a:ext uri="{FF2B5EF4-FFF2-40B4-BE49-F238E27FC236}">
                  <a16:creationId xmlns:a16="http://schemas.microsoft.com/office/drawing/2014/main" id="{13443759-A4DE-5649-D37D-EF988FB197B8}"/>
                </a:ext>
              </a:extLst>
            </p:cNvPr>
            <p:cNvSpPr txBox="1"/>
            <p:nvPr/>
          </p:nvSpPr>
          <p:spPr>
            <a:xfrm>
              <a:off x="9768329" y="2882900"/>
              <a:ext cx="1257300" cy="306328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 spc="-1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btarget</a:t>
              </a:r>
              <a:r>
                <a:rPr sz="1600" spc="-5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600" spc="-25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%</a:t>
              </a:r>
              <a:endParaRPr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object 25">
              <a:extLst>
                <a:ext uri="{FF2B5EF4-FFF2-40B4-BE49-F238E27FC236}">
                  <a16:creationId xmlns:a16="http://schemas.microsoft.com/office/drawing/2014/main" id="{92BCD104-6324-9D05-145C-D3BB02E6C258}"/>
                </a:ext>
              </a:extLst>
            </p:cNvPr>
            <p:cNvSpPr/>
            <p:nvPr/>
          </p:nvSpPr>
          <p:spPr>
            <a:xfrm>
              <a:off x="6551524" y="3275921"/>
              <a:ext cx="1085215" cy="831215"/>
            </a:xfrm>
            <a:custGeom>
              <a:avLst/>
              <a:gdLst/>
              <a:ahLst/>
              <a:cxnLst/>
              <a:rect l="l" t="t" r="r" b="b"/>
              <a:pathLst>
                <a:path w="1085215" h="831214">
                  <a:moveTo>
                    <a:pt x="1085221" y="0"/>
                  </a:moveTo>
                  <a:lnTo>
                    <a:pt x="0" y="0"/>
                  </a:lnTo>
                  <a:lnTo>
                    <a:pt x="0" y="830996"/>
                  </a:lnTo>
                  <a:lnTo>
                    <a:pt x="1085221" y="830996"/>
                  </a:lnTo>
                  <a:lnTo>
                    <a:pt x="1085221" y="0"/>
                  </a:lnTo>
                  <a:close/>
                </a:path>
              </a:pathLst>
            </a:custGeom>
            <a:solidFill>
              <a:srgbClr val="F2F2F2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object 26">
              <a:extLst>
                <a:ext uri="{FF2B5EF4-FFF2-40B4-BE49-F238E27FC236}">
                  <a16:creationId xmlns:a16="http://schemas.microsoft.com/office/drawing/2014/main" id="{E71EA3B6-0ED8-DE82-AFE5-E4D5E7FC0C46}"/>
                </a:ext>
              </a:extLst>
            </p:cNvPr>
            <p:cNvSpPr txBox="1"/>
            <p:nvPr/>
          </p:nvSpPr>
          <p:spPr>
            <a:xfrm>
              <a:off x="6630265" y="3297428"/>
              <a:ext cx="850900" cy="808737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marR="5080">
                <a:lnSpc>
                  <a:spcPct val="99400"/>
                </a:lnSpc>
                <a:spcBef>
                  <a:spcPts val="105"/>
                </a:spcBef>
              </a:pPr>
              <a:r>
                <a:rPr sz="1100">
                  <a:latin typeface="Arial" panose="020B0604020202020204" pitchFamily="34" charset="0"/>
                  <a:cs typeface="Arial" panose="020B0604020202020204" pitchFamily="34" charset="0"/>
                </a:rPr>
                <a:t>RFNBO</a:t>
              </a:r>
              <a:r>
                <a:rPr sz="1100" spc="-15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100">
                  <a:latin typeface="Arial" panose="020B0604020202020204" pitchFamily="34" charset="0"/>
                  <a:cs typeface="Arial" panose="020B0604020202020204" pitchFamily="34" charset="0"/>
                </a:rPr>
                <a:t>in</a:t>
              </a:r>
              <a:r>
                <a:rPr sz="1100" spc="-2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100" spc="-25">
                  <a:latin typeface="Arial" panose="020B0604020202020204" pitchFamily="34" charset="0"/>
                  <a:cs typeface="Arial" panose="020B0604020202020204" pitchFamily="34" charset="0"/>
                </a:rPr>
                <a:t>the </a:t>
              </a:r>
              <a:r>
                <a:rPr sz="1100">
                  <a:latin typeface="Arial" panose="020B0604020202020204" pitchFamily="34" charset="0"/>
                  <a:cs typeface="Arial" panose="020B0604020202020204" pitchFamily="34" charset="0"/>
                </a:rPr>
                <a:t>Fuel</a:t>
              </a:r>
              <a:r>
                <a:rPr sz="1100" spc="-25">
                  <a:latin typeface="Arial" panose="020B0604020202020204" pitchFamily="34" charset="0"/>
                  <a:cs typeface="Arial" panose="020B0604020202020204" pitchFamily="34" charset="0"/>
                </a:rPr>
                <a:t> Mix </a:t>
              </a:r>
              <a:r>
                <a:rPr sz="1100" spc="-10">
                  <a:latin typeface="Arial" panose="020B0604020202020204" pitchFamily="34" charset="0"/>
                  <a:cs typeface="Arial" panose="020B0604020202020204" pitchFamily="34" charset="0"/>
                </a:rPr>
                <a:t>(reported</a:t>
              </a:r>
              <a:r>
                <a:rPr sz="110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100" spc="-25"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sz="1100">
                  <a:latin typeface="Arial" panose="020B0604020202020204" pitchFamily="34" charset="0"/>
                  <a:cs typeface="Arial" panose="020B0604020202020204" pitchFamily="34" charset="0"/>
                </a:rPr>
                <a:t>MRV)</a:t>
              </a:r>
              <a:r>
                <a:rPr sz="1100" spc="-25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100">
                  <a:latin typeface="Arial" panose="020B0604020202020204" pitchFamily="34" charset="0"/>
                  <a:cs typeface="Arial" panose="020B0604020202020204" pitchFamily="34" charset="0"/>
                </a:rPr>
                <a:t>≥</a:t>
              </a:r>
              <a:r>
                <a:rPr sz="1100" spc="-15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100" spc="-25">
                  <a:latin typeface="Arial" panose="020B0604020202020204" pitchFamily="34" charset="0"/>
                  <a:cs typeface="Arial" panose="020B0604020202020204" pitchFamily="34" charset="0"/>
                </a:rPr>
                <a:t>1%</a:t>
              </a:r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2" name="object 27">
              <a:extLst>
                <a:ext uri="{FF2B5EF4-FFF2-40B4-BE49-F238E27FC236}">
                  <a16:creationId xmlns:a16="http://schemas.microsoft.com/office/drawing/2014/main" id="{973FD65F-A794-079D-8785-FF82781D4EA1}"/>
                </a:ext>
              </a:extLst>
            </p:cNvPr>
            <p:cNvGrpSpPr/>
            <p:nvPr/>
          </p:nvGrpSpPr>
          <p:grpSpPr>
            <a:xfrm>
              <a:off x="7678647" y="2957690"/>
              <a:ext cx="3651023" cy="1387152"/>
              <a:chOff x="7678647" y="2957690"/>
              <a:chExt cx="3651023" cy="1387152"/>
            </a:xfrm>
          </p:grpSpPr>
          <p:sp>
            <p:nvSpPr>
              <p:cNvPr id="59" name="object 28">
                <a:extLst>
                  <a:ext uri="{FF2B5EF4-FFF2-40B4-BE49-F238E27FC236}">
                    <a16:creationId xmlns:a16="http://schemas.microsoft.com/office/drawing/2014/main" id="{5ACD228F-49E7-75B8-B65C-A156782CF6B6}"/>
                  </a:ext>
                </a:extLst>
              </p:cNvPr>
              <p:cNvSpPr/>
              <p:nvPr/>
            </p:nvSpPr>
            <p:spPr>
              <a:xfrm>
                <a:off x="7678647" y="2957690"/>
                <a:ext cx="1827530" cy="783590"/>
              </a:xfrm>
              <a:custGeom>
                <a:avLst/>
                <a:gdLst/>
                <a:ahLst/>
                <a:cxnLst/>
                <a:rect l="l" t="t" r="r" b="b"/>
                <a:pathLst>
                  <a:path w="1827529" h="783589">
                    <a:moveTo>
                      <a:pt x="76200" y="763945"/>
                    </a:moveTo>
                    <a:lnTo>
                      <a:pt x="0" y="763945"/>
                    </a:lnTo>
                    <a:lnTo>
                      <a:pt x="0" y="782995"/>
                    </a:lnTo>
                    <a:lnTo>
                      <a:pt x="76200" y="782995"/>
                    </a:lnTo>
                    <a:lnTo>
                      <a:pt x="76200" y="763945"/>
                    </a:lnTo>
                    <a:close/>
                  </a:path>
                  <a:path w="1827529" h="783589">
                    <a:moveTo>
                      <a:pt x="209550" y="763945"/>
                    </a:moveTo>
                    <a:lnTo>
                      <a:pt x="133350" y="763945"/>
                    </a:lnTo>
                    <a:lnTo>
                      <a:pt x="133350" y="782995"/>
                    </a:lnTo>
                    <a:lnTo>
                      <a:pt x="209550" y="782995"/>
                    </a:lnTo>
                    <a:lnTo>
                      <a:pt x="209550" y="763945"/>
                    </a:lnTo>
                    <a:close/>
                  </a:path>
                  <a:path w="1827529" h="783589">
                    <a:moveTo>
                      <a:pt x="342900" y="763945"/>
                    </a:moveTo>
                    <a:lnTo>
                      <a:pt x="266700" y="763945"/>
                    </a:lnTo>
                    <a:lnTo>
                      <a:pt x="266700" y="782995"/>
                    </a:lnTo>
                    <a:lnTo>
                      <a:pt x="342900" y="782995"/>
                    </a:lnTo>
                    <a:lnTo>
                      <a:pt x="342900" y="763945"/>
                    </a:lnTo>
                    <a:close/>
                  </a:path>
                  <a:path w="1827529" h="783589">
                    <a:moveTo>
                      <a:pt x="476250" y="763945"/>
                    </a:moveTo>
                    <a:lnTo>
                      <a:pt x="400050" y="763945"/>
                    </a:lnTo>
                    <a:lnTo>
                      <a:pt x="400050" y="782995"/>
                    </a:lnTo>
                    <a:lnTo>
                      <a:pt x="476250" y="782995"/>
                    </a:lnTo>
                    <a:lnTo>
                      <a:pt x="476250" y="763945"/>
                    </a:lnTo>
                    <a:close/>
                  </a:path>
                  <a:path w="1827529" h="783589">
                    <a:moveTo>
                      <a:pt x="609600" y="763945"/>
                    </a:moveTo>
                    <a:lnTo>
                      <a:pt x="533400" y="763945"/>
                    </a:lnTo>
                    <a:lnTo>
                      <a:pt x="533400" y="782995"/>
                    </a:lnTo>
                    <a:lnTo>
                      <a:pt x="609600" y="782995"/>
                    </a:lnTo>
                    <a:lnTo>
                      <a:pt x="609600" y="763945"/>
                    </a:lnTo>
                    <a:close/>
                  </a:path>
                  <a:path w="1827529" h="783589">
                    <a:moveTo>
                      <a:pt x="742950" y="763945"/>
                    </a:moveTo>
                    <a:lnTo>
                      <a:pt x="666750" y="763945"/>
                    </a:lnTo>
                    <a:lnTo>
                      <a:pt x="666750" y="782995"/>
                    </a:lnTo>
                    <a:lnTo>
                      <a:pt x="742950" y="782995"/>
                    </a:lnTo>
                    <a:lnTo>
                      <a:pt x="742950" y="763945"/>
                    </a:lnTo>
                    <a:close/>
                  </a:path>
                  <a:path w="1827529" h="783589">
                    <a:moveTo>
                      <a:pt x="876300" y="763945"/>
                    </a:moveTo>
                    <a:lnTo>
                      <a:pt x="800100" y="763945"/>
                    </a:lnTo>
                    <a:lnTo>
                      <a:pt x="800100" y="782995"/>
                    </a:lnTo>
                    <a:lnTo>
                      <a:pt x="876300" y="782995"/>
                    </a:lnTo>
                    <a:lnTo>
                      <a:pt x="876300" y="763945"/>
                    </a:lnTo>
                    <a:close/>
                  </a:path>
                  <a:path w="1827529" h="783589">
                    <a:moveTo>
                      <a:pt x="923171" y="677467"/>
                    </a:moveTo>
                    <a:lnTo>
                      <a:pt x="904121" y="677467"/>
                    </a:lnTo>
                    <a:lnTo>
                      <a:pt x="904121" y="753667"/>
                    </a:lnTo>
                    <a:lnTo>
                      <a:pt x="923171" y="753667"/>
                    </a:lnTo>
                    <a:lnTo>
                      <a:pt x="923171" y="677467"/>
                    </a:lnTo>
                    <a:close/>
                  </a:path>
                  <a:path w="1827529" h="783589">
                    <a:moveTo>
                      <a:pt x="923171" y="544117"/>
                    </a:moveTo>
                    <a:lnTo>
                      <a:pt x="904121" y="544117"/>
                    </a:lnTo>
                    <a:lnTo>
                      <a:pt x="904121" y="620317"/>
                    </a:lnTo>
                    <a:lnTo>
                      <a:pt x="923171" y="620317"/>
                    </a:lnTo>
                    <a:lnTo>
                      <a:pt x="923171" y="544117"/>
                    </a:lnTo>
                    <a:close/>
                  </a:path>
                  <a:path w="1827529" h="783589">
                    <a:moveTo>
                      <a:pt x="923171" y="410767"/>
                    </a:moveTo>
                    <a:lnTo>
                      <a:pt x="904121" y="410767"/>
                    </a:lnTo>
                    <a:lnTo>
                      <a:pt x="904121" y="486967"/>
                    </a:lnTo>
                    <a:lnTo>
                      <a:pt x="923171" y="486967"/>
                    </a:lnTo>
                    <a:lnTo>
                      <a:pt x="923171" y="410767"/>
                    </a:lnTo>
                    <a:close/>
                  </a:path>
                  <a:path w="1827529" h="783589">
                    <a:moveTo>
                      <a:pt x="923171" y="277417"/>
                    </a:moveTo>
                    <a:lnTo>
                      <a:pt x="904121" y="277417"/>
                    </a:lnTo>
                    <a:lnTo>
                      <a:pt x="904121" y="353617"/>
                    </a:lnTo>
                    <a:lnTo>
                      <a:pt x="923171" y="353617"/>
                    </a:lnTo>
                    <a:lnTo>
                      <a:pt x="923171" y="277417"/>
                    </a:lnTo>
                    <a:close/>
                  </a:path>
                  <a:path w="1827529" h="783589">
                    <a:moveTo>
                      <a:pt x="923171" y="144067"/>
                    </a:moveTo>
                    <a:lnTo>
                      <a:pt x="904121" y="144067"/>
                    </a:lnTo>
                    <a:lnTo>
                      <a:pt x="904121" y="220267"/>
                    </a:lnTo>
                    <a:lnTo>
                      <a:pt x="923171" y="220267"/>
                    </a:lnTo>
                    <a:lnTo>
                      <a:pt x="923171" y="144067"/>
                    </a:lnTo>
                    <a:close/>
                  </a:path>
                  <a:path w="1827529" h="783589">
                    <a:moveTo>
                      <a:pt x="966430" y="53975"/>
                    </a:moveTo>
                    <a:lnTo>
                      <a:pt x="904121" y="53975"/>
                    </a:lnTo>
                    <a:lnTo>
                      <a:pt x="904121" y="86917"/>
                    </a:lnTo>
                    <a:lnTo>
                      <a:pt x="923171" y="86917"/>
                    </a:lnTo>
                    <a:lnTo>
                      <a:pt x="923171" y="73025"/>
                    </a:lnTo>
                    <a:lnTo>
                      <a:pt x="913646" y="73025"/>
                    </a:lnTo>
                    <a:lnTo>
                      <a:pt x="923171" y="63500"/>
                    </a:lnTo>
                    <a:lnTo>
                      <a:pt x="966430" y="63500"/>
                    </a:lnTo>
                    <a:lnTo>
                      <a:pt x="966430" y="53975"/>
                    </a:lnTo>
                    <a:close/>
                  </a:path>
                  <a:path w="1827529" h="783589">
                    <a:moveTo>
                      <a:pt x="923171" y="63500"/>
                    </a:moveTo>
                    <a:lnTo>
                      <a:pt x="913646" y="73025"/>
                    </a:lnTo>
                    <a:lnTo>
                      <a:pt x="923171" y="73025"/>
                    </a:lnTo>
                    <a:lnTo>
                      <a:pt x="923171" y="63500"/>
                    </a:lnTo>
                    <a:close/>
                  </a:path>
                  <a:path w="1827529" h="783589">
                    <a:moveTo>
                      <a:pt x="966430" y="63500"/>
                    </a:moveTo>
                    <a:lnTo>
                      <a:pt x="923171" y="63500"/>
                    </a:lnTo>
                    <a:lnTo>
                      <a:pt x="923171" y="73025"/>
                    </a:lnTo>
                    <a:lnTo>
                      <a:pt x="966430" y="73025"/>
                    </a:lnTo>
                    <a:lnTo>
                      <a:pt x="966430" y="63500"/>
                    </a:lnTo>
                    <a:close/>
                  </a:path>
                  <a:path w="1827529" h="783589">
                    <a:moveTo>
                      <a:pt x="1099780" y="53975"/>
                    </a:moveTo>
                    <a:lnTo>
                      <a:pt x="1023580" y="53975"/>
                    </a:lnTo>
                    <a:lnTo>
                      <a:pt x="1023580" y="73025"/>
                    </a:lnTo>
                    <a:lnTo>
                      <a:pt x="1099780" y="73025"/>
                    </a:lnTo>
                    <a:lnTo>
                      <a:pt x="1099780" y="53975"/>
                    </a:lnTo>
                    <a:close/>
                  </a:path>
                  <a:path w="1827529" h="783589">
                    <a:moveTo>
                      <a:pt x="1233130" y="53975"/>
                    </a:moveTo>
                    <a:lnTo>
                      <a:pt x="1156930" y="53975"/>
                    </a:lnTo>
                    <a:lnTo>
                      <a:pt x="1156930" y="73025"/>
                    </a:lnTo>
                    <a:lnTo>
                      <a:pt x="1233130" y="73025"/>
                    </a:lnTo>
                    <a:lnTo>
                      <a:pt x="1233130" y="53975"/>
                    </a:lnTo>
                    <a:close/>
                  </a:path>
                  <a:path w="1827529" h="783589">
                    <a:moveTo>
                      <a:pt x="1366480" y="53975"/>
                    </a:moveTo>
                    <a:lnTo>
                      <a:pt x="1290280" y="53975"/>
                    </a:lnTo>
                    <a:lnTo>
                      <a:pt x="1290280" y="73025"/>
                    </a:lnTo>
                    <a:lnTo>
                      <a:pt x="1366480" y="73025"/>
                    </a:lnTo>
                    <a:lnTo>
                      <a:pt x="1366480" y="53975"/>
                    </a:lnTo>
                    <a:close/>
                  </a:path>
                  <a:path w="1827529" h="783589">
                    <a:moveTo>
                      <a:pt x="1499830" y="53975"/>
                    </a:moveTo>
                    <a:lnTo>
                      <a:pt x="1423630" y="53975"/>
                    </a:lnTo>
                    <a:lnTo>
                      <a:pt x="1423630" y="73025"/>
                    </a:lnTo>
                    <a:lnTo>
                      <a:pt x="1499830" y="73025"/>
                    </a:lnTo>
                    <a:lnTo>
                      <a:pt x="1499830" y="53975"/>
                    </a:lnTo>
                    <a:close/>
                  </a:path>
                  <a:path w="1827529" h="783589">
                    <a:moveTo>
                      <a:pt x="1633180" y="53975"/>
                    </a:moveTo>
                    <a:lnTo>
                      <a:pt x="1556980" y="53975"/>
                    </a:lnTo>
                    <a:lnTo>
                      <a:pt x="1556980" y="73025"/>
                    </a:lnTo>
                    <a:lnTo>
                      <a:pt x="1633180" y="73025"/>
                    </a:lnTo>
                    <a:lnTo>
                      <a:pt x="1633180" y="53975"/>
                    </a:lnTo>
                    <a:close/>
                  </a:path>
                  <a:path w="1827529" h="783589">
                    <a:moveTo>
                      <a:pt x="1700293" y="0"/>
                    </a:moveTo>
                    <a:lnTo>
                      <a:pt x="1700293" y="127000"/>
                    </a:lnTo>
                    <a:lnTo>
                      <a:pt x="1808243" y="73025"/>
                    </a:lnTo>
                    <a:lnTo>
                      <a:pt x="1712993" y="73025"/>
                    </a:lnTo>
                    <a:lnTo>
                      <a:pt x="1712993" y="53975"/>
                    </a:lnTo>
                    <a:lnTo>
                      <a:pt x="1808243" y="53975"/>
                    </a:lnTo>
                    <a:lnTo>
                      <a:pt x="1700293" y="0"/>
                    </a:lnTo>
                    <a:close/>
                  </a:path>
                  <a:path w="1827529" h="783589">
                    <a:moveTo>
                      <a:pt x="1700293" y="53975"/>
                    </a:moveTo>
                    <a:lnTo>
                      <a:pt x="1690330" y="53975"/>
                    </a:lnTo>
                    <a:lnTo>
                      <a:pt x="1690330" y="73025"/>
                    </a:lnTo>
                    <a:lnTo>
                      <a:pt x="1700293" y="73025"/>
                    </a:lnTo>
                    <a:lnTo>
                      <a:pt x="1700293" y="53975"/>
                    </a:lnTo>
                    <a:close/>
                  </a:path>
                  <a:path w="1827529" h="783589">
                    <a:moveTo>
                      <a:pt x="1808243" y="53975"/>
                    </a:moveTo>
                    <a:lnTo>
                      <a:pt x="1712993" y="53975"/>
                    </a:lnTo>
                    <a:lnTo>
                      <a:pt x="1712993" y="73025"/>
                    </a:lnTo>
                    <a:lnTo>
                      <a:pt x="1808243" y="73025"/>
                    </a:lnTo>
                    <a:lnTo>
                      <a:pt x="1827293" y="63500"/>
                    </a:lnTo>
                    <a:lnTo>
                      <a:pt x="1808243" y="53975"/>
                    </a:lnTo>
                    <a:close/>
                  </a:path>
                </a:pathLst>
              </a:custGeom>
              <a:solidFill>
                <a:srgbClr val="0F6FC6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0" name="object 29">
                <a:extLst>
                  <a:ext uri="{FF2B5EF4-FFF2-40B4-BE49-F238E27FC236}">
                    <a16:creationId xmlns:a16="http://schemas.microsoft.com/office/drawing/2014/main" id="{69CC6C5C-E09F-D48A-70C7-F733A20ABFEE}"/>
                  </a:ext>
                </a:extLst>
              </p:cNvPr>
              <p:cNvSpPr/>
              <p:nvPr/>
            </p:nvSpPr>
            <p:spPr>
              <a:xfrm>
                <a:off x="9464040" y="4015277"/>
                <a:ext cx="1865630" cy="329565"/>
              </a:xfrm>
              <a:custGeom>
                <a:avLst/>
                <a:gdLst/>
                <a:ahLst/>
                <a:cxnLst/>
                <a:rect l="l" t="t" r="r" b="b"/>
                <a:pathLst>
                  <a:path w="1865629" h="329564">
                    <a:moveTo>
                      <a:pt x="1865372" y="0"/>
                    </a:moveTo>
                    <a:lnTo>
                      <a:pt x="0" y="0"/>
                    </a:lnTo>
                    <a:lnTo>
                      <a:pt x="0" y="329184"/>
                    </a:lnTo>
                    <a:lnTo>
                      <a:pt x="1865372" y="329184"/>
                    </a:lnTo>
                    <a:lnTo>
                      <a:pt x="1865372" y="0"/>
                    </a:lnTo>
                    <a:close/>
                  </a:path>
                </a:pathLst>
              </a:custGeom>
              <a:solidFill>
                <a:schemeClr val="accent4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1" name="object 30">
                <a:extLst>
                  <a:ext uri="{FF2B5EF4-FFF2-40B4-BE49-F238E27FC236}">
                    <a16:creationId xmlns:a16="http://schemas.microsoft.com/office/drawing/2014/main" id="{EBF2940F-9258-92BF-5009-5C40987375CE}"/>
                  </a:ext>
                </a:extLst>
              </p:cNvPr>
              <p:cNvSpPr/>
              <p:nvPr/>
            </p:nvSpPr>
            <p:spPr>
              <a:xfrm>
                <a:off x="9464040" y="4015277"/>
                <a:ext cx="1865630" cy="329565"/>
              </a:xfrm>
              <a:custGeom>
                <a:avLst/>
                <a:gdLst/>
                <a:ahLst/>
                <a:cxnLst/>
                <a:rect l="l" t="t" r="r" b="b"/>
                <a:pathLst>
                  <a:path w="1865629" h="329564">
                    <a:moveTo>
                      <a:pt x="0" y="0"/>
                    </a:moveTo>
                    <a:lnTo>
                      <a:pt x="1865373" y="0"/>
                    </a:lnTo>
                    <a:lnTo>
                      <a:pt x="1865373" y="329184"/>
                    </a:lnTo>
                    <a:lnTo>
                      <a:pt x="0" y="329184"/>
                    </a:lnTo>
                    <a:lnTo>
                      <a:pt x="0" y="0"/>
                    </a:lnTo>
                    <a:close/>
                  </a:path>
                </a:pathLst>
              </a:custGeom>
              <a:ln w="12700">
                <a:solidFill>
                  <a:srgbClr val="085091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3" name="object 31">
              <a:extLst>
                <a:ext uri="{FF2B5EF4-FFF2-40B4-BE49-F238E27FC236}">
                  <a16:creationId xmlns:a16="http://schemas.microsoft.com/office/drawing/2014/main" id="{5C426E17-40A8-E2FA-0998-95898864EE4A}"/>
                </a:ext>
              </a:extLst>
            </p:cNvPr>
            <p:cNvSpPr txBox="1"/>
            <p:nvPr/>
          </p:nvSpPr>
          <p:spPr>
            <a:xfrm>
              <a:off x="9746390" y="4016755"/>
              <a:ext cx="1301115" cy="306328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6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</a:t>
              </a:r>
              <a:r>
                <a:rPr sz="1600" spc="-1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ub-target</a:t>
              </a:r>
              <a:endParaRPr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object 32">
              <a:extLst>
                <a:ext uri="{FF2B5EF4-FFF2-40B4-BE49-F238E27FC236}">
                  <a16:creationId xmlns:a16="http://schemas.microsoft.com/office/drawing/2014/main" id="{4A8BE9A8-4E96-273D-54EC-9D216DFEE743}"/>
                </a:ext>
              </a:extLst>
            </p:cNvPr>
            <p:cNvSpPr/>
            <p:nvPr/>
          </p:nvSpPr>
          <p:spPr>
            <a:xfrm>
              <a:off x="7678647" y="3875873"/>
              <a:ext cx="1785620" cy="367665"/>
            </a:xfrm>
            <a:custGeom>
              <a:avLst/>
              <a:gdLst/>
              <a:ahLst/>
              <a:cxnLst/>
              <a:rect l="l" t="t" r="r" b="b"/>
              <a:pathLst>
                <a:path w="1785620" h="367664">
                  <a:moveTo>
                    <a:pt x="76200" y="0"/>
                  </a:moveTo>
                  <a:lnTo>
                    <a:pt x="0" y="0"/>
                  </a:lnTo>
                  <a:lnTo>
                    <a:pt x="0" y="19049"/>
                  </a:lnTo>
                  <a:lnTo>
                    <a:pt x="76200" y="19049"/>
                  </a:lnTo>
                  <a:lnTo>
                    <a:pt x="76200" y="0"/>
                  </a:lnTo>
                  <a:close/>
                </a:path>
                <a:path w="1785620" h="367664">
                  <a:moveTo>
                    <a:pt x="209550" y="0"/>
                  </a:moveTo>
                  <a:lnTo>
                    <a:pt x="133350" y="0"/>
                  </a:lnTo>
                  <a:lnTo>
                    <a:pt x="133350" y="19049"/>
                  </a:lnTo>
                  <a:lnTo>
                    <a:pt x="209550" y="19049"/>
                  </a:lnTo>
                  <a:lnTo>
                    <a:pt x="209550" y="0"/>
                  </a:lnTo>
                  <a:close/>
                </a:path>
                <a:path w="1785620" h="367664">
                  <a:moveTo>
                    <a:pt x="342900" y="0"/>
                  </a:moveTo>
                  <a:lnTo>
                    <a:pt x="266700" y="0"/>
                  </a:lnTo>
                  <a:lnTo>
                    <a:pt x="266700" y="19049"/>
                  </a:lnTo>
                  <a:lnTo>
                    <a:pt x="342900" y="19049"/>
                  </a:lnTo>
                  <a:lnTo>
                    <a:pt x="342900" y="0"/>
                  </a:lnTo>
                  <a:close/>
                </a:path>
                <a:path w="1785620" h="367664">
                  <a:moveTo>
                    <a:pt x="476250" y="0"/>
                  </a:moveTo>
                  <a:lnTo>
                    <a:pt x="400050" y="0"/>
                  </a:lnTo>
                  <a:lnTo>
                    <a:pt x="400050" y="19049"/>
                  </a:lnTo>
                  <a:lnTo>
                    <a:pt x="476250" y="19049"/>
                  </a:lnTo>
                  <a:lnTo>
                    <a:pt x="476250" y="0"/>
                  </a:lnTo>
                  <a:close/>
                </a:path>
                <a:path w="1785620" h="367664">
                  <a:moveTo>
                    <a:pt x="609600" y="0"/>
                  </a:moveTo>
                  <a:lnTo>
                    <a:pt x="533400" y="0"/>
                  </a:lnTo>
                  <a:lnTo>
                    <a:pt x="533400" y="19049"/>
                  </a:lnTo>
                  <a:lnTo>
                    <a:pt x="609600" y="19049"/>
                  </a:lnTo>
                  <a:lnTo>
                    <a:pt x="609600" y="0"/>
                  </a:lnTo>
                  <a:close/>
                </a:path>
                <a:path w="1785620" h="367664">
                  <a:moveTo>
                    <a:pt x="742950" y="0"/>
                  </a:moveTo>
                  <a:lnTo>
                    <a:pt x="666750" y="0"/>
                  </a:lnTo>
                  <a:lnTo>
                    <a:pt x="666750" y="19049"/>
                  </a:lnTo>
                  <a:lnTo>
                    <a:pt x="742950" y="19049"/>
                  </a:lnTo>
                  <a:lnTo>
                    <a:pt x="742950" y="0"/>
                  </a:lnTo>
                  <a:close/>
                </a:path>
                <a:path w="1785620" h="367664">
                  <a:moveTo>
                    <a:pt x="876300" y="0"/>
                  </a:moveTo>
                  <a:lnTo>
                    <a:pt x="800100" y="0"/>
                  </a:lnTo>
                  <a:lnTo>
                    <a:pt x="800100" y="19049"/>
                  </a:lnTo>
                  <a:lnTo>
                    <a:pt x="876300" y="19049"/>
                  </a:lnTo>
                  <a:lnTo>
                    <a:pt x="876300" y="0"/>
                  </a:lnTo>
                  <a:close/>
                </a:path>
                <a:path w="1785620" h="367664">
                  <a:moveTo>
                    <a:pt x="902221" y="50279"/>
                  </a:moveTo>
                  <a:lnTo>
                    <a:pt x="883171" y="50279"/>
                  </a:lnTo>
                  <a:lnTo>
                    <a:pt x="883171" y="126479"/>
                  </a:lnTo>
                  <a:lnTo>
                    <a:pt x="902221" y="126479"/>
                  </a:lnTo>
                  <a:lnTo>
                    <a:pt x="902221" y="50279"/>
                  </a:lnTo>
                  <a:close/>
                </a:path>
                <a:path w="1785620" h="367664">
                  <a:moveTo>
                    <a:pt x="902221" y="183629"/>
                  </a:moveTo>
                  <a:lnTo>
                    <a:pt x="883171" y="183629"/>
                  </a:lnTo>
                  <a:lnTo>
                    <a:pt x="883171" y="259829"/>
                  </a:lnTo>
                  <a:lnTo>
                    <a:pt x="902221" y="259829"/>
                  </a:lnTo>
                  <a:lnTo>
                    <a:pt x="902221" y="183629"/>
                  </a:lnTo>
                  <a:close/>
                </a:path>
                <a:path w="1785620" h="367664">
                  <a:moveTo>
                    <a:pt x="981878" y="294471"/>
                  </a:moveTo>
                  <a:lnTo>
                    <a:pt x="905678" y="294471"/>
                  </a:lnTo>
                  <a:lnTo>
                    <a:pt x="905678" y="313521"/>
                  </a:lnTo>
                  <a:lnTo>
                    <a:pt x="981878" y="313521"/>
                  </a:lnTo>
                  <a:lnTo>
                    <a:pt x="981878" y="294471"/>
                  </a:lnTo>
                  <a:close/>
                </a:path>
                <a:path w="1785620" h="367664">
                  <a:moveTo>
                    <a:pt x="1115228" y="294471"/>
                  </a:moveTo>
                  <a:lnTo>
                    <a:pt x="1039028" y="294471"/>
                  </a:lnTo>
                  <a:lnTo>
                    <a:pt x="1039028" y="313521"/>
                  </a:lnTo>
                  <a:lnTo>
                    <a:pt x="1115228" y="313521"/>
                  </a:lnTo>
                  <a:lnTo>
                    <a:pt x="1115228" y="294471"/>
                  </a:lnTo>
                  <a:close/>
                </a:path>
                <a:path w="1785620" h="367664">
                  <a:moveTo>
                    <a:pt x="1248578" y="294471"/>
                  </a:moveTo>
                  <a:lnTo>
                    <a:pt x="1172378" y="294471"/>
                  </a:lnTo>
                  <a:lnTo>
                    <a:pt x="1172378" y="313521"/>
                  </a:lnTo>
                  <a:lnTo>
                    <a:pt x="1248578" y="313521"/>
                  </a:lnTo>
                  <a:lnTo>
                    <a:pt x="1248578" y="294471"/>
                  </a:lnTo>
                  <a:close/>
                </a:path>
                <a:path w="1785620" h="367664">
                  <a:moveTo>
                    <a:pt x="1381928" y="294471"/>
                  </a:moveTo>
                  <a:lnTo>
                    <a:pt x="1305728" y="294471"/>
                  </a:lnTo>
                  <a:lnTo>
                    <a:pt x="1305728" y="313521"/>
                  </a:lnTo>
                  <a:lnTo>
                    <a:pt x="1381928" y="313521"/>
                  </a:lnTo>
                  <a:lnTo>
                    <a:pt x="1381928" y="294471"/>
                  </a:lnTo>
                  <a:close/>
                </a:path>
                <a:path w="1785620" h="367664">
                  <a:moveTo>
                    <a:pt x="1515278" y="294471"/>
                  </a:moveTo>
                  <a:lnTo>
                    <a:pt x="1439078" y="294471"/>
                  </a:lnTo>
                  <a:lnTo>
                    <a:pt x="1439078" y="313521"/>
                  </a:lnTo>
                  <a:lnTo>
                    <a:pt x="1515278" y="313521"/>
                  </a:lnTo>
                  <a:lnTo>
                    <a:pt x="1515278" y="294471"/>
                  </a:lnTo>
                  <a:close/>
                </a:path>
                <a:path w="1785620" h="367664">
                  <a:moveTo>
                    <a:pt x="1648628" y="294471"/>
                  </a:moveTo>
                  <a:lnTo>
                    <a:pt x="1572428" y="294471"/>
                  </a:lnTo>
                  <a:lnTo>
                    <a:pt x="1572428" y="313521"/>
                  </a:lnTo>
                  <a:lnTo>
                    <a:pt x="1648628" y="313521"/>
                  </a:lnTo>
                  <a:lnTo>
                    <a:pt x="1648628" y="294471"/>
                  </a:lnTo>
                  <a:close/>
                </a:path>
                <a:path w="1785620" h="367664">
                  <a:moveTo>
                    <a:pt x="1658392" y="240496"/>
                  </a:moveTo>
                  <a:lnTo>
                    <a:pt x="1658392" y="367496"/>
                  </a:lnTo>
                  <a:lnTo>
                    <a:pt x="1785392" y="303996"/>
                  </a:lnTo>
                  <a:lnTo>
                    <a:pt x="1658392" y="240496"/>
                  </a:lnTo>
                  <a:close/>
                </a:path>
              </a:pathLst>
            </a:custGeom>
            <a:solidFill>
              <a:srgbClr val="0F6FC6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object 33">
              <a:extLst>
                <a:ext uri="{FF2B5EF4-FFF2-40B4-BE49-F238E27FC236}">
                  <a16:creationId xmlns:a16="http://schemas.microsoft.com/office/drawing/2014/main" id="{100149AE-1796-44D2-DC5E-D33D79189143}"/>
                </a:ext>
              </a:extLst>
            </p:cNvPr>
            <p:cNvSpPr txBox="1"/>
            <p:nvPr/>
          </p:nvSpPr>
          <p:spPr>
            <a:xfrm>
              <a:off x="7750481" y="3505708"/>
              <a:ext cx="178435" cy="19714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b="1" spc="-25">
                  <a:latin typeface="Arial" panose="020B0604020202020204" pitchFamily="34" charset="0"/>
                  <a:cs typeface="Arial" panose="020B0604020202020204" pitchFamily="34" charset="0"/>
                </a:rPr>
                <a:t>No</a:t>
              </a:r>
              <a:endParaRPr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object 34">
              <a:extLst>
                <a:ext uri="{FF2B5EF4-FFF2-40B4-BE49-F238E27FC236}">
                  <a16:creationId xmlns:a16="http://schemas.microsoft.com/office/drawing/2014/main" id="{EBF363E6-C893-3BB9-7F64-488C4B01794F}"/>
                </a:ext>
              </a:extLst>
            </p:cNvPr>
            <p:cNvSpPr txBox="1"/>
            <p:nvPr/>
          </p:nvSpPr>
          <p:spPr>
            <a:xfrm>
              <a:off x="7734452" y="3914140"/>
              <a:ext cx="494752" cy="19714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b="1" spc="-25">
                  <a:latin typeface="Arial" panose="020B0604020202020204" pitchFamily="34" charset="0"/>
                  <a:cs typeface="Arial" panose="020B0604020202020204" pitchFamily="34" charset="0"/>
                </a:rPr>
                <a:t>Yes</a:t>
              </a:r>
              <a:endParaRPr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7" name="object 36">
              <a:extLst>
                <a:ext uri="{FF2B5EF4-FFF2-40B4-BE49-F238E27FC236}">
                  <a16:creationId xmlns:a16="http://schemas.microsoft.com/office/drawing/2014/main" id="{FA41183A-4578-01C2-75ED-50374A7D5263}"/>
                </a:ext>
              </a:extLst>
            </p:cNvPr>
            <p:cNvGrpSpPr/>
            <p:nvPr/>
          </p:nvGrpSpPr>
          <p:grpSpPr>
            <a:xfrm>
              <a:off x="1944777" y="2922016"/>
              <a:ext cx="7436966" cy="2227195"/>
              <a:chOff x="1944777" y="2922016"/>
              <a:chExt cx="7436966" cy="2227195"/>
            </a:xfrm>
          </p:grpSpPr>
          <p:sp>
            <p:nvSpPr>
              <p:cNvPr id="56" name="object 37">
                <a:extLst>
                  <a:ext uri="{FF2B5EF4-FFF2-40B4-BE49-F238E27FC236}">
                    <a16:creationId xmlns:a16="http://schemas.microsoft.com/office/drawing/2014/main" id="{94C4131F-CBB6-9707-43CB-A8D052C3A7B0}"/>
                  </a:ext>
                </a:extLst>
              </p:cNvPr>
              <p:cNvSpPr/>
              <p:nvPr/>
            </p:nvSpPr>
            <p:spPr>
              <a:xfrm>
                <a:off x="1944777" y="2922016"/>
                <a:ext cx="4693920" cy="625475"/>
              </a:xfrm>
              <a:custGeom>
                <a:avLst/>
                <a:gdLst/>
                <a:ahLst/>
                <a:cxnLst/>
                <a:rect l="l" t="t" r="r" b="b"/>
                <a:pathLst>
                  <a:path w="4693920" h="625475">
                    <a:moveTo>
                      <a:pt x="19050" y="549149"/>
                    </a:moveTo>
                    <a:lnTo>
                      <a:pt x="0" y="549149"/>
                    </a:lnTo>
                    <a:lnTo>
                      <a:pt x="0" y="625349"/>
                    </a:lnTo>
                    <a:lnTo>
                      <a:pt x="19050" y="625349"/>
                    </a:lnTo>
                    <a:lnTo>
                      <a:pt x="19050" y="549149"/>
                    </a:lnTo>
                    <a:close/>
                  </a:path>
                  <a:path w="4693920" h="625475">
                    <a:moveTo>
                      <a:pt x="19050" y="415799"/>
                    </a:moveTo>
                    <a:lnTo>
                      <a:pt x="0" y="415799"/>
                    </a:lnTo>
                    <a:lnTo>
                      <a:pt x="0" y="491999"/>
                    </a:lnTo>
                    <a:lnTo>
                      <a:pt x="19050" y="491999"/>
                    </a:lnTo>
                    <a:lnTo>
                      <a:pt x="19050" y="415799"/>
                    </a:lnTo>
                    <a:close/>
                  </a:path>
                  <a:path w="4693920" h="625475">
                    <a:moveTo>
                      <a:pt x="19050" y="282449"/>
                    </a:moveTo>
                    <a:lnTo>
                      <a:pt x="0" y="282449"/>
                    </a:lnTo>
                    <a:lnTo>
                      <a:pt x="0" y="358649"/>
                    </a:lnTo>
                    <a:lnTo>
                      <a:pt x="19050" y="358649"/>
                    </a:lnTo>
                    <a:lnTo>
                      <a:pt x="19050" y="282449"/>
                    </a:lnTo>
                    <a:close/>
                  </a:path>
                  <a:path w="4693920" h="625475">
                    <a:moveTo>
                      <a:pt x="19050" y="149099"/>
                    </a:moveTo>
                    <a:lnTo>
                      <a:pt x="0" y="149099"/>
                    </a:lnTo>
                    <a:lnTo>
                      <a:pt x="0" y="225299"/>
                    </a:lnTo>
                    <a:lnTo>
                      <a:pt x="19050" y="225299"/>
                    </a:lnTo>
                    <a:lnTo>
                      <a:pt x="19050" y="149099"/>
                    </a:lnTo>
                    <a:close/>
                  </a:path>
                  <a:path w="4693920" h="625475">
                    <a:moveTo>
                      <a:pt x="57275" y="53975"/>
                    </a:moveTo>
                    <a:lnTo>
                      <a:pt x="0" y="53975"/>
                    </a:lnTo>
                    <a:lnTo>
                      <a:pt x="0" y="91949"/>
                    </a:lnTo>
                    <a:lnTo>
                      <a:pt x="19050" y="91949"/>
                    </a:lnTo>
                    <a:lnTo>
                      <a:pt x="19050" y="73025"/>
                    </a:lnTo>
                    <a:lnTo>
                      <a:pt x="9525" y="73025"/>
                    </a:lnTo>
                    <a:lnTo>
                      <a:pt x="19050" y="63500"/>
                    </a:lnTo>
                    <a:lnTo>
                      <a:pt x="57275" y="63500"/>
                    </a:lnTo>
                    <a:lnTo>
                      <a:pt x="57275" y="53975"/>
                    </a:lnTo>
                    <a:close/>
                  </a:path>
                  <a:path w="4693920" h="625475">
                    <a:moveTo>
                      <a:pt x="19050" y="63500"/>
                    </a:moveTo>
                    <a:lnTo>
                      <a:pt x="9525" y="73025"/>
                    </a:lnTo>
                    <a:lnTo>
                      <a:pt x="19050" y="73025"/>
                    </a:lnTo>
                    <a:lnTo>
                      <a:pt x="19050" y="63500"/>
                    </a:lnTo>
                    <a:close/>
                  </a:path>
                  <a:path w="4693920" h="625475">
                    <a:moveTo>
                      <a:pt x="57275" y="63500"/>
                    </a:moveTo>
                    <a:lnTo>
                      <a:pt x="19050" y="63500"/>
                    </a:lnTo>
                    <a:lnTo>
                      <a:pt x="19050" y="73025"/>
                    </a:lnTo>
                    <a:lnTo>
                      <a:pt x="57275" y="73025"/>
                    </a:lnTo>
                    <a:lnTo>
                      <a:pt x="57275" y="63500"/>
                    </a:lnTo>
                    <a:close/>
                  </a:path>
                  <a:path w="4693920" h="625475">
                    <a:moveTo>
                      <a:pt x="190625" y="53975"/>
                    </a:moveTo>
                    <a:lnTo>
                      <a:pt x="114425" y="53975"/>
                    </a:lnTo>
                    <a:lnTo>
                      <a:pt x="114425" y="73025"/>
                    </a:lnTo>
                    <a:lnTo>
                      <a:pt x="190625" y="73025"/>
                    </a:lnTo>
                    <a:lnTo>
                      <a:pt x="190625" y="53975"/>
                    </a:lnTo>
                    <a:close/>
                  </a:path>
                  <a:path w="4693920" h="625475">
                    <a:moveTo>
                      <a:pt x="323975" y="53975"/>
                    </a:moveTo>
                    <a:lnTo>
                      <a:pt x="247775" y="53975"/>
                    </a:lnTo>
                    <a:lnTo>
                      <a:pt x="247775" y="73025"/>
                    </a:lnTo>
                    <a:lnTo>
                      <a:pt x="323975" y="73025"/>
                    </a:lnTo>
                    <a:lnTo>
                      <a:pt x="323975" y="53975"/>
                    </a:lnTo>
                    <a:close/>
                  </a:path>
                  <a:path w="4693920" h="625475">
                    <a:moveTo>
                      <a:pt x="457325" y="53975"/>
                    </a:moveTo>
                    <a:lnTo>
                      <a:pt x="381125" y="53975"/>
                    </a:lnTo>
                    <a:lnTo>
                      <a:pt x="381125" y="73025"/>
                    </a:lnTo>
                    <a:lnTo>
                      <a:pt x="457325" y="73025"/>
                    </a:lnTo>
                    <a:lnTo>
                      <a:pt x="457325" y="53975"/>
                    </a:lnTo>
                    <a:close/>
                  </a:path>
                  <a:path w="4693920" h="625475">
                    <a:moveTo>
                      <a:pt x="590675" y="53975"/>
                    </a:moveTo>
                    <a:lnTo>
                      <a:pt x="514475" y="53975"/>
                    </a:lnTo>
                    <a:lnTo>
                      <a:pt x="514475" y="73025"/>
                    </a:lnTo>
                    <a:lnTo>
                      <a:pt x="590675" y="73025"/>
                    </a:lnTo>
                    <a:lnTo>
                      <a:pt x="590675" y="53975"/>
                    </a:lnTo>
                    <a:close/>
                  </a:path>
                  <a:path w="4693920" h="625475">
                    <a:moveTo>
                      <a:pt x="724025" y="53975"/>
                    </a:moveTo>
                    <a:lnTo>
                      <a:pt x="647825" y="53975"/>
                    </a:lnTo>
                    <a:lnTo>
                      <a:pt x="647825" y="73025"/>
                    </a:lnTo>
                    <a:lnTo>
                      <a:pt x="724025" y="73025"/>
                    </a:lnTo>
                    <a:lnTo>
                      <a:pt x="724025" y="53975"/>
                    </a:lnTo>
                    <a:close/>
                  </a:path>
                  <a:path w="4693920" h="625475">
                    <a:moveTo>
                      <a:pt x="857375" y="53975"/>
                    </a:moveTo>
                    <a:lnTo>
                      <a:pt x="781175" y="53975"/>
                    </a:lnTo>
                    <a:lnTo>
                      <a:pt x="781175" y="73025"/>
                    </a:lnTo>
                    <a:lnTo>
                      <a:pt x="857375" y="73025"/>
                    </a:lnTo>
                    <a:lnTo>
                      <a:pt x="857375" y="53975"/>
                    </a:lnTo>
                    <a:close/>
                  </a:path>
                  <a:path w="4693920" h="625475">
                    <a:moveTo>
                      <a:pt x="990725" y="53975"/>
                    </a:moveTo>
                    <a:lnTo>
                      <a:pt x="914525" y="53975"/>
                    </a:lnTo>
                    <a:lnTo>
                      <a:pt x="914525" y="73025"/>
                    </a:lnTo>
                    <a:lnTo>
                      <a:pt x="990725" y="73025"/>
                    </a:lnTo>
                    <a:lnTo>
                      <a:pt x="990725" y="53975"/>
                    </a:lnTo>
                    <a:close/>
                  </a:path>
                  <a:path w="4693920" h="625475">
                    <a:moveTo>
                      <a:pt x="1124075" y="53975"/>
                    </a:moveTo>
                    <a:lnTo>
                      <a:pt x="1047875" y="53975"/>
                    </a:lnTo>
                    <a:lnTo>
                      <a:pt x="1047875" y="73025"/>
                    </a:lnTo>
                    <a:lnTo>
                      <a:pt x="1124075" y="73025"/>
                    </a:lnTo>
                    <a:lnTo>
                      <a:pt x="1124075" y="53975"/>
                    </a:lnTo>
                    <a:close/>
                  </a:path>
                  <a:path w="4693920" h="625475">
                    <a:moveTo>
                      <a:pt x="1257425" y="53975"/>
                    </a:moveTo>
                    <a:lnTo>
                      <a:pt x="1181225" y="53975"/>
                    </a:lnTo>
                    <a:lnTo>
                      <a:pt x="1181225" y="73025"/>
                    </a:lnTo>
                    <a:lnTo>
                      <a:pt x="1257425" y="73025"/>
                    </a:lnTo>
                    <a:lnTo>
                      <a:pt x="1257425" y="53975"/>
                    </a:lnTo>
                    <a:close/>
                  </a:path>
                  <a:path w="4693920" h="625475">
                    <a:moveTo>
                      <a:pt x="1390775" y="53975"/>
                    </a:moveTo>
                    <a:lnTo>
                      <a:pt x="1314575" y="53975"/>
                    </a:lnTo>
                    <a:lnTo>
                      <a:pt x="1314575" y="73025"/>
                    </a:lnTo>
                    <a:lnTo>
                      <a:pt x="1390775" y="73025"/>
                    </a:lnTo>
                    <a:lnTo>
                      <a:pt x="1390775" y="53975"/>
                    </a:lnTo>
                    <a:close/>
                  </a:path>
                  <a:path w="4693920" h="625475">
                    <a:moveTo>
                      <a:pt x="1524125" y="53975"/>
                    </a:moveTo>
                    <a:lnTo>
                      <a:pt x="1447925" y="53975"/>
                    </a:lnTo>
                    <a:lnTo>
                      <a:pt x="1447925" y="73025"/>
                    </a:lnTo>
                    <a:lnTo>
                      <a:pt x="1524125" y="73025"/>
                    </a:lnTo>
                    <a:lnTo>
                      <a:pt x="1524125" y="53975"/>
                    </a:lnTo>
                    <a:close/>
                  </a:path>
                  <a:path w="4693920" h="625475">
                    <a:moveTo>
                      <a:pt x="1657475" y="53975"/>
                    </a:moveTo>
                    <a:lnTo>
                      <a:pt x="1581275" y="53975"/>
                    </a:lnTo>
                    <a:lnTo>
                      <a:pt x="1581275" y="73025"/>
                    </a:lnTo>
                    <a:lnTo>
                      <a:pt x="1657475" y="73025"/>
                    </a:lnTo>
                    <a:lnTo>
                      <a:pt x="1657475" y="53975"/>
                    </a:lnTo>
                    <a:close/>
                  </a:path>
                  <a:path w="4693920" h="625475">
                    <a:moveTo>
                      <a:pt x="1790825" y="53975"/>
                    </a:moveTo>
                    <a:lnTo>
                      <a:pt x="1714625" y="53975"/>
                    </a:lnTo>
                    <a:lnTo>
                      <a:pt x="1714625" y="73025"/>
                    </a:lnTo>
                    <a:lnTo>
                      <a:pt x="1790825" y="73025"/>
                    </a:lnTo>
                    <a:lnTo>
                      <a:pt x="1790825" y="53975"/>
                    </a:lnTo>
                    <a:close/>
                  </a:path>
                  <a:path w="4693920" h="625475">
                    <a:moveTo>
                      <a:pt x="1924175" y="53975"/>
                    </a:moveTo>
                    <a:lnTo>
                      <a:pt x="1847975" y="53975"/>
                    </a:lnTo>
                    <a:lnTo>
                      <a:pt x="1847975" y="73025"/>
                    </a:lnTo>
                    <a:lnTo>
                      <a:pt x="1924175" y="73025"/>
                    </a:lnTo>
                    <a:lnTo>
                      <a:pt x="1924175" y="53975"/>
                    </a:lnTo>
                    <a:close/>
                  </a:path>
                  <a:path w="4693920" h="625475">
                    <a:moveTo>
                      <a:pt x="2057525" y="53975"/>
                    </a:moveTo>
                    <a:lnTo>
                      <a:pt x="1981325" y="53975"/>
                    </a:lnTo>
                    <a:lnTo>
                      <a:pt x="1981325" y="73025"/>
                    </a:lnTo>
                    <a:lnTo>
                      <a:pt x="2057525" y="73025"/>
                    </a:lnTo>
                    <a:lnTo>
                      <a:pt x="2057525" y="53975"/>
                    </a:lnTo>
                    <a:close/>
                  </a:path>
                  <a:path w="4693920" h="625475">
                    <a:moveTo>
                      <a:pt x="2190875" y="53975"/>
                    </a:moveTo>
                    <a:lnTo>
                      <a:pt x="2114675" y="53975"/>
                    </a:lnTo>
                    <a:lnTo>
                      <a:pt x="2114675" y="73025"/>
                    </a:lnTo>
                    <a:lnTo>
                      <a:pt x="2190875" y="73025"/>
                    </a:lnTo>
                    <a:lnTo>
                      <a:pt x="2190875" y="53975"/>
                    </a:lnTo>
                    <a:close/>
                  </a:path>
                  <a:path w="4693920" h="625475">
                    <a:moveTo>
                      <a:pt x="2324225" y="53975"/>
                    </a:moveTo>
                    <a:lnTo>
                      <a:pt x="2248025" y="53975"/>
                    </a:lnTo>
                    <a:lnTo>
                      <a:pt x="2248025" y="73025"/>
                    </a:lnTo>
                    <a:lnTo>
                      <a:pt x="2324225" y="73025"/>
                    </a:lnTo>
                    <a:lnTo>
                      <a:pt x="2324225" y="53975"/>
                    </a:lnTo>
                    <a:close/>
                  </a:path>
                  <a:path w="4693920" h="625475">
                    <a:moveTo>
                      <a:pt x="2457575" y="53975"/>
                    </a:moveTo>
                    <a:lnTo>
                      <a:pt x="2381375" y="53975"/>
                    </a:lnTo>
                    <a:lnTo>
                      <a:pt x="2381375" y="73025"/>
                    </a:lnTo>
                    <a:lnTo>
                      <a:pt x="2457575" y="73025"/>
                    </a:lnTo>
                    <a:lnTo>
                      <a:pt x="2457575" y="53975"/>
                    </a:lnTo>
                    <a:close/>
                  </a:path>
                  <a:path w="4693920" h="625475">
                    <a:moveTo>
                      <a:pt x="2590925" y="53975"/>
                    </a:moveTo>
                    <a:lnTo>
                      <a:pt x="2514725" y="53975"/>
                    </a:lnTo>
                    <a:lnTo>
                      <a:pt x="2514725" y="73025"/>
                    </a:lnTo>
                    <a:lnTo>
                      <a:pt x="2590925" y="73025"/>
                    </a:lnTo>
                    <a:lnTo>
                      <a:pt x="2590925" y="53975"/>
                    </a:lnTo>
                    <a:close/>
                  </a:path>
                  <a:path w="4693920" h="625475">
                    <a:moveTo>
                      <a:pt x="2724275" y="53975"/>
                    </a:moveTo>
                    <a:lnTo>
                      <a:pt x="2648075" y="53975"/>
                    </a:lnTo>
                    <a:lnTo>
                      <a:pt x="2648075" y="73025"/>
                    </a:lnTo>
                    <a:lnTo>
                      <a:pt x="2724275" y="73025"/>
                    </a:lnTo>
                    <a:lnTo>
                      <a:pt x="2724275" y="53975"/>
                    </a:lnTo>
                    <a:close/>
                  </a:path>
                  <a:path w="4693920" h="625475">
                    <a:moveTo>
                      <a:pt x="2857625" y="53975"/>
                    </a:moveTo>
                    <a:lnTo>
                      <a:pt x="2781425" y="53975"/>
                    </a:lnTo>
                    <a:lnTo>
                      <a:pt x="2781425" y="73025"/>
                    </a:lnTo>
                    <a:lnTo>
                      <a:pt x="2857625" y="73025"/>
                    </a:lnTo>
                    <a:lnTo>
                      <a:pt x="2857625" y="53975"/>
                    </a:lnTo>
                    <a:close/>
                  </a:path>
                  <a:path w="4693920" h="625475">
                    <a:moveTo>
                      <a:pt x="2990975" y="53975"/>
                    </a:moveTo>
                    <a:lnTo>
                      <a:pt x="2914775" y="53975"/>
                    </a:lnTo>
                    <a:lnTo>
                      <a:pt x="2914775" y="73025"/>
                    </a:lnTo>
                    <a:lnTo>
                      <a:pt x="2990975" y="73025"/>
                    </a:lnTo>
                    <a:lnTo>
                      <a:pt x="2990975" y="53975"/>
                    </a:lnTo>
                    <a:close/>
                  </a:path>
                  <a:path w="4693920" h="625475">
                    <a:moveTo>
                      <a:pt x="3124325" y="53975"/>
                    </a:moveTo>
                    <a:lnTo>
                      <a:pt x="3048125" y="53975"/>
                    </a:lnTo>
                    <a:lnTo>
                      <a:pt x="3048125" y="73025"/>
                    </a:lnTo>
                    <a:lnTo>
                      <a:pt x="3124325" y="73025"/>
                    </a:lnTo>
                    <a:lnTo>
                      <a:pt x="3124325" y="53975"/>
                    </a:lnTo>
                    <a:close/>
                  </a:path>
                  <a:path w="4693920" h="625475">
                    <a:moveTo>
                      <a:pt x="3257675" y="53975"/>
                    </a:moveTo>
                    <a:lnTo>
                      <a:pt x="3181475" y="53975"/>
                    </a:lnTo>
                    <a:lnTo>
                      <a:pt x="3181475" y="73025"/>
                    </a:lnTo>
                    <a:lnTo>
                      <a:pt x="3257675" y="73025"/>
                    </a:lnTo>
                    <a:lnTo>
                      <a:pt x="3257675" y="53975"/>
                    </a:lnTo>
                    <a:close/>
                  </a:path>
                  <a:path w="4693920" h="625475">
                    <a:moveTo>
                      <a:pt x="3391025" y="53975"/>
                    </a:moveTo>
                    <a:lnTo>
                      <a:pt x="3314825" y="53975"/>
                    </a:lnTo>
                    <a:lnTo>
                      <a:pt x="3314825" y="73025"/>
                    </a:lnTo>
                    <a:lnTo>
                      <a:pt x="3391025" y="73025"/>
                    </a:lnTo>
                    <a:lnTo>
                      <a:pt x="3391025" y="53975"/>
                    </a:lnTo>
                    <a:close/>
                  </a:path>
                  <a:path w="4693920" h="625475">
                    <a:moveTo>
                      <a:pt x="3524375" y="53975"/>
                    </a:moveTo>
                    <a:lnTo>
                      <a:pt x="3448175" y="53975"/>
                    </a:lnTo>
                    <a:lnTo>
                      <a:pt x="3448175" y="73025"/>
                    </a:lnTo>
                    <a:lnTo>
                      <a:pt x="3524375" y="73025"/>
                    </a:lnTo>
                    <a:lnTo>
                      <a:pt x="3524375" y="53975"/>
                    </a:lnTo>
                    <a:close/>
                  </a:path>
                  <a:path w="4693920" h="625475">
                    <a:moveTo>
                      <a:pt x="3657725" y="53975"/>
                    </a:moveTo>
                    <a:lnTo>
                      <a:pt x="3581525" y="53975"/>
                    </a:lnTo>
                    <a:lnTo>
                      <a:pt x="3581525" y="73025"/>
                    </a:lnTo>
                    <a:lnTo>
                      <a:pt x="3657725" y="73025"/>
                    </a:lnTo>
                    <a:lnTo>
                      <a:pt x="3657725" y="53975"/>
                    </a:lnTo>
                    <a:close/>
                  </a:path>
                  <a:path w="4693920" h="625475">
                    <a:moveTo>
                      <a:pt x="3791075" y="53975"/>
                    </a:moveTo>
                    <a:lnTo>
                      <a:pt x="3714875" y="53975"/>
                    </a:lnTo>
                    <a:lnTo>
                      <a:pt x="3714875" y="73025"/>
                    </a:lnTo>
                    <a:lnTo>
                      <a:pt x="3791075" y="73025"/>
                    </a:lnTo>
                    <a:lnTo>
                      <a:pt x="3791075" y="53975"/>
                    </a:lnTo>
                    <a:close/>
                  </a:path>
                  <a:path w="4693920" h="625475">
                    <a:moveTo>
                      <a:pt x="3924425" y="53975"/>
                    </a:moveTo>
                    <a:lnTo>
                      <a:pt x="3848225" y="53975"/>
                    </a:lnTo>
                    <a:lnTo>
                      <a:pt x="3848225" y="73025"/>
                    </a:lnTo>
                    <a:lnTo>
                      <a:pt x="3924425" y="73025"/>
                    </a:lnTo>
                    <a:lnTo>
                      <a:pt x="3924425" y="53975"/>
                    </a:lnTo>
                    <a:close/>
                  </a:path>
                  <a:path w="4693920" h="625475">
                    <a:moveTo>
                      <a:pt x="4057775" y="53975"/>
                    </a:moveTo>
                    <a:lnTo>
                      <a:pt x="3981575" y="53975"/>
                    </a:lnTo>
                    <a:lnTo>
                      <a:pt x="3981575" y="73025"/>
                    </a:lnTo>
                    <a:lnTo>
                      <a:pt x="4057775" y="73025"/>
                    </a:lnTo>
                    <a:lnTo>
                      <a:pt x="4057775" y="53975"/>
                    </a:lnTo>
                    <a:close/>
                  </a:path>
                  <a:path w="4693920" h="625475">
                    <a:moveTo>
                      <a:pt x="4191125" y="53975"/>
                    </a:moveTo>
                    <a:lnTo>
                      <a:pt x="4114925" y="53975"/>
                    </a:lnTo>
                    <a:lnTo>
                      <a:pt x="4114925" y="73025"/>
                    </a:lnTo>
                    <a:lnTo>
                      <a:pt x="4191125" y="73025"/>
                    </a:lnTo>
                    <a:lnTo>
                      <a:pt x="4191125" y="53975"/>
                    </a:lnTo>
                    <a:close/>
                  </a:path>
                  <a:path w="4693920" h="625475">
                    <a:moveTo>
                      <a:pt x="4324475" y="53975"/>
                    </a:moveTo>
                    <a:lnTo>
                      <a:pt x="4248275" y="53975"/>
                    </a:lnTo>
                    <a:lnTo>
                      <a:pt x="4248275" y="73025"/>
                    </a:lnTo>
                    <a:lnTo>
                      <a:pt x="4324475" y="73025"/>
                    </a:lnTo>
                    <a:lnTo>
                      <a:pt x="4324475" y="53975"/>
                    </a:lnTo>
                    <a:close/>
                  </a:path>
                  <a:path w="4693920" h="625475">
                    <a:moveTo>
                      <a:pt x="4457825" y="53975"/>
                    </a:moveTo>
                    <a:lnTo>
                      <a:pt x="4381625" y="53975"/>
                    </a:lnTo>
                    <a:lnTo>
                      <a:pt x="4381625" y="73025"/>
                    </a:lnTo>
                    <a:lnTo>
                      <a:pt x="4457825" y="73025"/>
                    </a:lnTo>
                    <a:lnTo>
                      <a:pt x="4457825" y="53975"/>
                    </a:lnTo>
                    <a:close/>
                  </a:path>
                  <a:path w="4693920" h="625475">
                    <a:moveTo>
                      <a:pt x="4566766" y="0"/>
                    </a:moveTo>
                    <a:lnTo>
                      <a:pt x="4566766" y="127000"/>
                    </a:lnTo>
                    <a:lnTo>
                      <a:pt x="4674716" y="73025"/>
                    </a:lnTo>
                    <a:lnTo>
                      <a:pt x="4579465" y="73025"/>
                    </a:lnTo>
                    <a:lnTo>
                      <a:pt x="4579465" y="53975"/>
                    </a:lnTo>
                    <a:lnTo>
                      <a:pt x="4674716" y="53975"/>
                    </a:lnTo>
                    <a:lnTo>
                      <a:pt x="4566766" y="0"/>
                    </a:lnTo>
                    <a:close/>
                  </a:path>
                  <a:path w="4693920" h="625475">
                    <a:moveTo>
                      <a:pt x="4566766" y="53975"/>
                    </a:moveTo>
                    <a:lnTo>
                      <a:pt x="4514975" y="53975"/>
                    </a:lnTo>
                    <a:lnTo>
                      <a:pt x="4514975" y="73025"/>
                    </a:lnTo>
                    <a:lnTo>
                      <a:pt x="4566766" y="73025"/>
                    </a:lnTo>
                    <a:lnTo>
                      <a:pt x="4566766" y="53975"/>
                    </a:lnTo>
                    <a:close/>
                  </a:path>
                  <a:path w="4693920" h="625475">
                    <a:moveTo>
                      <a:pt x="4674716" y="53975"/>
                    </a:moveTo>
                    <a:lnTo>
                      <a:pt x="4579465" y="53975"/>
                    </a:lnTo>
                    <a:lnTo>
                      <a:pt x="4579465" y="73025"/>
                    </a:lnTo>
                    <a:lnTo>
                      <a:pt x="4674716" y="73025"/>
                    </a:lnTo>
                    <a:lnTo>
                      <a:pt x="4693766" y="63500"/>
                    </a:lnTo>
                    <a:lnTo>
                      <a:pt x="4674716" y="53975"/>
                    </a:lnTo>
                    <a:close/>
                  </a:path>
                </a:pathLst>
              </a:custGeom>
              <a:solidFill>
                <a:srgbClr val="0F6FC6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object 38">
                <a:extLst>
                  <a:ext uri="{FF2B5EF4-FFF2-40B4-BE49-F238E27FC236}">
                    <a16:creationId xmlns:a16="http://schemas.microsoft.com/office/drawing/2014/main" id="{AC06CF28-ABA3-050A-B364-B91D1E5B76F0}"/>
                  </a:ext>
                </a:extLst>
              </p:cNvPr>
              <p:cNvSpPr/>
              <p:nvPr/>
            </p:nvSpPr>
            <p:spPr>
              <a:xfrm>
                <a:off x="8467343" y="4846951"/>
                <a:ext cx="914400" cy="302260"/>
              </a:xfrm>
              <a:custGeom>
                <a:avLst/>
                <a:gdLst/>
                <a:ahLst/>
                <a:cxnLst/>
                <a:rect l="l" t="t" r="r" b="b"/>
                <a:pathLst>
                  <a:path w="914400" h="302260">
                    <a:moveTo>
                      <a:pt x="914400" y="0"/>
                    </a:moveTo>
                    <a:lnTo>
                      <a:pt x="0" y="0"/>
                    </a:lnTo>
                    <a:lnTo>
                      <a:pt x="0" y="301751"/>
                    </a:lnTo>
                    <a:lnTo>
                      <a:pt x="914400" y="301751"/>
                    </a:lnTo>
                    <a:lnTo>
                      <a:pt x="914400" y="0"/>
                    </a:lnTo>
                    <a:close/>
                  </a:path>
                </a:pathLst>
              </a:custGeom>
              <a:solidFill>
                <a:srgbClr val="284288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object 39">
                <a:extLst>
                  <a:ext uri="{FF2B5EF4-FFF2-40B4-BE49-F238E27FC236}">
                    <a16:creationId xmlns:a16="http://schemas.microsoft.com/office/drawing/2014/main" id="{941599C8-BC0A-679C-3D37-958A911ECD33}"/>
                  </a:ext>
                </a:extLst>
              </p:cNvPr>
              <p:cNvSpPr/>
              <p:nvPr/>
            </p:nvSpPr>
            <p:spPr>
              <a:xfrm>
                <a:off x="8467343" y="4846951"/>
                <a:ext cx="914400" cy="302260"/>
              </a:xfrm>
              <a:custGeom>
                <a:avLst/>
                <a:gdLst/>
                <a:ahLst/>
                <a:cxnLst/>
                <a:rect l="l" t="t" r="r" b="b"/>
                <a:pathLst>
                  <a:path w="914400" h="302260">
                    <a:moveTo>
                      <a:pt x="0" y="0"/>
                    </a:moveTo>
                    <a:lnTo>
                      <a:pt x="914400" y="0"/>
                    </a:lnTo>
                    <a:lnTo>
                      <a:pt x="914400" y="301752"/>
                    </a:lnTo>
                    <a:lnTo>
                      <a:pt x="0" y="3017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12700">
                <a:solidFill>
                  <a:srgbClr val="085091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8" name="object 40">
              <a:extLst>
                <a:ext uri="{FF2B5EF4-FFF2-40B4-BE49-F238E27FC236}">
                  <a16:creationId xmlns:a16="http://schemas.microsoft.com/office/drawing/2014/main" id="{1853BF5C-2B40-2B94-6964-AECB012F7438}"/>
                </a:ext>
              </a:extLst>
            </p:cNvPr>
            <p:cNvSpPr txBox="1"/>
            <p:nvPr/>
          </p:nvSpPr>
          <p:spPr>
            <a:xfrm>
              <a:off x="8549099" y="4836667"/>
              <a:ext cx="751205" cy="670283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80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eck</a:t>
              </a:r>
              <a:r>
                <a:rPr sz="1800" spc="-4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800" spc="-5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9" name="object 41">
              <a:extLst>
                <a:ext uri="{FF2B5EF4-FFF2-40B4-BE49-F238E27FC236}">
                  <a16:creationId xmlns:a16="http://schemas.microsoft.com/office/drawing/2014/main" id="{1F9E083A-485C-0B0F-51BF-D468B979F961}"/>
                </a:ext>
              </a:extLst>
            </p:cNvPr>
            <p:cNvGrpSpPr/>
            <p:nvPr/>
          </p:nvGrpSpPr>
          <p:grpSpPr>
            <a:xfrm>
              <a:off x="3438945" y="4137191"/>
              <a:ext cx="6067623" cy="1883105"/>
              <a:chOff x="3438945" y="4137191"/>
              <a:chExt cx="6067623" cy="1883105"/>
            </a:xfrm>
          </p:grpSpPr>
          <p:sp>
            <p:nvSpPr>
              <p:cNvPr id="54" name="object 42">
                <a:extLst>
                  <a:ext uri="{FF2B5EF4-FFF2-40B4-BE49-F238E27FC236}">
                    <a16:creationId xmlns:a16="http://schemas.microsoft.com/office/drawing/2014/main" id="{865EB28A-91B5-BBDA-1403-37C6A4584FD7}"/>
                  </a:ext>
                </a:extLst>
              </p:cNvPr>
              <p:cNvSpPr/>
              <p:nvPr/>
            </p:nvSpPr>
            <p:spPr>
              <a:xfrm>
                <a:off x="3438945" y="4137191"/>
                <a:ext cx="5028565" cy="924560"/>
              </a:xfrm>
              <a:custGeom>
                <a:avLst/>
                <a:gdLst/>
                <a:ahLst/>
                <a:cxnLst/>
                <a:rect l="l" t="t" r="r" b="b"/>
                <a:pathLst>
                  <a:path w="5028565" h="924560">
                    <a:moveTo>
                      <a:pt x="76200" y="0"/>
                    </a:moveTo>
                    <a:lnTo>
                      <a:pt x="0" y="0"/>
                    </a:lnTo>
                    <a:lnTo>
                      <a:pt x="0" y="19050"/>
                    </a:lnTo>
                    <a:lnTo>
                      <a:pt x="76200" y="19050"/>
                    </a:lnTo>
                    <a:lnTo>
                      <a:pt x="76200" y="0"/>
                    </a:lnTo>
                    <a:close/>
                  </a:path>
                  <a:path w="5028565" h="924560">
                    <a:moveTo>
                      <a:pt x="209550" y="0"/>
                    </a:moveTo>
                    <a:lnTo>
                      <a:pt x="133350" y="0"/>
                    </a:lnTo>
                    <a:lnTo>
                      <a:pt x="133350" y="19050"/>
                    </a:lnTo>
                    <a:lnTo>
                      <a:pt x="209550" y="19050"/>
                    </a:lnTo>
                    <a:lnTo>
                      <a:pt x="209550" y="0"/>
                    </a:lnTo>
                    <a:close/>
                  </a:path>
                  <a:path w="5028565" h="924560">
                    <a:moveTo>
                      <a:pt x="342900" y="0"/>
                    </a:moveTo>
                    <a:lnTo>
                      <a:pt x="266700" y="0"/>
                    </a:lnTo>
                    <a:lnTo>
                      <a:pt x="266700" y="19050"/>
                    </a:lnTo>
                    <a:lnTo>
                      <a:pt x="342900" y="19050"/>
                    </a:lnTo>
                    <a:lnTo>
                      <a:pt x="342900" y="0"/>
                    </a:lnTo>
                    <a:close/>
                  </a:path>
                  <a:path w="5028565" h="924560">
                    <a:moveTo>
                      <a:pt x="476250" y="0"/>
                    </a:moveTo>
                    <a:lnTo>
                      <a:pt x="400050" y="0"/>
                    </a:lnTo>
                    <a:lnTo>
                      <a:pt x="400050" y="19050"/>
                    </a:lnTo>
                    <a:lnTo>
                      <a:pt x="476250" y="19050"/>
                    </a:lnTo>
                    <a:lnTo>
                      <a:pt x="476250" y="0"/>
                    </a:lnTo>
                    <a:close/>
                  </a:path>
                  <a:path w="5028565" h="924560">
                    <a:moveTo>
                      <a:pt x="609600" y="0"/>
                    </a:moveTo>
                    <a:lnTo>
                      <a:pt x="533400" y="0"/>
                    </a:lnTo>
                    <a:lnTo>
                      <a:pt x="533400" y="19050"/>
                    </a:lnTo>
                    <a:lnTo>
                      <a:pt x="609600" y="19050"/>
                    </a:lnTo>
                    <a:lnTo>
                      <a:pt x="609600" y="0"/>
                    </a:lnTo>
                    <a:close/>
                  </a:path>
                  <a:path w="5028565" h="924560">
                    <a:moveTo>
                      <a:pt x="742950" y="0"/>
                    </a:moveTo>
                    <a:lnTo>
                      <a:pt x="666750" y="0"/>
                    </a:lnTo>
                    <a:lnTo>
                      <a:pt x="666750" y="19050"/>
                    </a:lnTo>
                    <a:lnTo>
                      <a:pt x="742950" y="19050"/>
                    </a:lnTo>
                    <a:lnTo>
                      <a:pt x="742950" y="0"/>
                    </a:lnTo>
                    <a:close/>
                  </a:path>
                  <a:path w="5028565" h="924560">
                    <a:moveTo>
                      <a:pt x="876300" y="0"/>
                    </a:moveTo>
                    <a:lnTo>
                      <a:pt x="800100" y="0"/>
                    </a:lnTo>
                    <a:lnTo>
                      <a:pt x="800100" y="19050"/>
                    </a:lnTo>
                    <a:lnTo>
                      <a:pt x="876300" y="19050"/>
                    </a:lnTo>
                    <a:lnTo>
                      <a:pt x="876300" y="0"/>
                    </a:lnTo>
                    <a:close/>
                  </a:path>
                  <a:path w="5028565" h="924560">
                    <a:moveTo>
                      <a:pt x="1009650" y="0"/>
                    </a:moveTo>
                    <a:lnTo>
                      <a:pt x="933450" y="0"/>
                    </a:lnTo>
                    <a:lnTo>
                      <a:pt x="933450" y="19050"/>
                    </a:lnTo>
                    <a:lnTo>
                      <a:pt x="1009650" y="19050"/>
                    </a:lnTo>
                    <a:lnTo>
                      <a:pt x="1009650" y="0"/>
                    </a:lnTo>
                    <a:close/>
                  </a:path>
                  <a:path w="5028565" h="924560">
                    <a:moveTo>
                      <a:pt x="1143000" y="0"/>
                    </a:moveTo>
                    <a:lnTo>
                      <a:pt x="1066800" y="0"/>
                    </a:lnTo>
                    <a:lnTo>
                      <a:pt x="1066800" y="19050"/>
                    </a:lnTo>
                    <a:lnTo>
                      <a:pt x="1143000" y="19050"/>
                    </a:lnTo>
                    <a:lnTo>
                      <a:pt x="1143000" y="0"/>
                    </a:lnTo>
                    <a:close/>
                  </a:path>
                  <a:path w="5028565" h="924560">
                    <a:moveTo>
                      <a:pt x="1276350" y="0"/>
                    </a:moveTo>
                    <a:lnTo>
                      <a:pt x="1200150" y="0"/>
                    </a:lnTo>
                    <a:lnTo>
                      <a:pt x="1200150" y="19050"/>
                    </a:lnTo>
                    <a:lnTo>
                      <a:pt x="1276350" y="19050"/>
                    </a:lnTo>
                    <a:lnTo>
                      <a:pt x="1276350" y="0"/>
                    </a:lnTo>
                    <a:close/>
                  </a:path>
                  <a:path w="5028565" h="924560">
                    <a:moveTo>
                      <a:pt x="1409700" y="0"/>
                    </a:moveTo>
                    <a:lnTo>
                      <a:pt x="1333500" y="0"/>
                    </a:lnTo>
                    <a:lnTo>
                      <a:pt x="1333500" y="19050"/>
                    </a:lnTo>
                    <a:lnTo>
                      <a:pt x="1409700" y="19050"/>
                    </a:lnTo>
                    <a:lnTo>
                      <a:pt x="1409700" y="0"/>
                    </a:lnTo>
                    <a:close/>
                  </a:path>
                  <a:path w="5028565" h="924560">
                    <a:moveTo>
                      <a:pt x="1543050" y="0"/>
                    </a:moveTo>
                    <a:lnTo>
                      <a:pt x="1466850" y="0"/>
                    </a:lnTo>
                    <a:lnTo>
                      <a:pt x="1466850" y="19050"/>
                    </a:lnTo>
                    <a:lnTo>
                      <a:pt x="1543050" y="19050"/>
                    </a:lnTo>
                    <a:lnTo>
                      <a:pt x="1543050" y="0"/>
                    </a:lnTo>
                    <a:close/>
                  </a:path>
                  <a:path w="5028565" h="924560">
                    <a:moveTo>
                      <a:pt x="1676400" y="0"/>
                    </a:moveTo>
                    <a:lnTo>
                      <a:pt x="1600200" y="0"/>
                    </a:lnTo>
                    <a:lnTo>
                      <a:pt x="1600200" y="19050"/>
                    </a:lnTo>
                    <a:lnTo>
                      <a:pt x="1676400" y="19050"/>
                    </a:lnTo>
                    <a:lnTo>
                      <a:pt x="1676400" y="0"/>
                    </a:lnTo>
                    <a:close/>
                  </a:path>
                  <a:path w="5028565" h="924560">
                    <a:moveTo>
                      <a:pt x="1809750" y="0"/>
                    </a:moveTo>
                    <a:lnTo>
                      <a:pt x="1733550" y="0"/>
                    </a:lnTo>
                    <a:lnTo>
                      <a:pt x="1733550" y="19050"/>
                    </a:lnTo>
                    <a:lnTo>
                      <a:pt x="1809750" y="19050"/>
                    </a:lnTo>
                    <a:lnTo>
                      <a:pt x="1809750" y="0"/>
                    </a:lnTo>
                    <a:close/>
                  </a:path>
                  <a:path w="5028565" h="924560">
                    <a:moveTo>
                      <a:pt x="1943100" y="0"/>
                    </a:moveTo>
                    <a:lnTo>
                      <a:pt x="1866900" y="0"/>
                    </a:lnTo>
                    <a:lnTo>
                      <a:pt x="1866900" y="19050"/>
                    </a:lnTo>
                    <a:lnTo>
                      <a:pt x="1943100" y="19050"/>
                    </a:lnTo>
                    <a:lnTo>
                      <a:pt x="1943100" y="0"/>
                    </a:lnTo>
                    <a:close/>
                  </a:path>
                  <a:path w="5028565" h="924560">
                    <a:moveTo>
                      <a:pt x="2076450" y="0"/>
                    </a:moveTo>
                    <a:lnTo>
                      <a:pt x="2000250" y="0"/>
                    </a:lnTo>
                    <a:lnTo>
                      <a:pt x="2000250" y="19050"/>
                    </a:lnTo>
                    <a:lnTo>
                      <a:pt x="2076450" y="19050"/>
                    </a:lnTo>
                    <a:lnTo>
                      <a:pt x="2076450" y="0"/>
                    </a:lnTo>
                    <a:close/>
                  </a:path>
                  <a:path w="5028565" h="924560">
                    <a:moveTo>
                      <a:pt x="2209800" y="0"/>
                    </a:moveTo>
                    <a:lnTo>
                      <a:pt x="2133600" y="0"/>
                    </a:lnTo>
                    <a:lnTo>
                      <a:pt x="2133600" y="19050"/>
                    </a:lnTo>
                    <a:lnTo>
                      <a:pt x="2209800" y="19050"/>
                    </a:lnTo>
                    <a:lnTo>
                      <a:pt x="2209800" y="0"/>
                    </a:lnTo>
                    <a:close/>
                  </a:path>
                  <a:path w="5028565" h="924560">
                    <a:moveTo>
                      <a:pt x="2343150" y="0"/>
                    </a:moveTo>
                    <a:lnTo>
                      <a:pt x="2266950" y="0"/>
                    </a:lnTo>
                    <a:lnTo>
                      <a:pt x="2266950" y="19050"/>
                    </a:lnTo>
                    <a:lnTo>
                      <a:pt x="2343150" y="19050"/>
                    </a:lnTo>
                    <a:lnTo>
                      <a:pt x="2343150" y="0"/>
                    </a:lnTo>
                    <a:close/>
                  </a:path>
                  <a:path w="5028565" h="924560">
                    <a:moveTo>
                      <a:pt x="2476500" y="0"/>
                    </a:moveTo>
                    <a:lnTo>
                      <a:pt x="2400300" y="0"/>
                    </a:lnTo>
                    <a:lnTo>
                      <a:pt x="2400300" y="19050"/>
                    </a:lnTo>
                    <a:lnTo>
                      <a:pt x="2476500" y="19050"/>
                    </a:lnTo>
                    <a:lnTo>
                      <a:pt x="2476500" y="0"/>
                    </a:lnTo>
                    <a:close/>
                  </a:path>
                  <a:path w="5028565" h="924560">
                    <a:moveTo>
                      <a:pt x="2523723" y="28976"/>
                    </a:moveTo>
                    <a:lnTo>
                      <a:pt x="2504673" y="28976"/>
                    </a:lnTo>
                    <a:lnTo>
                      <a:pt x="2504673" y="105176"/>
                    </a:lnTo>
                    <a:lnTo>
                      <a:pt x="2523723" y="105176"/>
                    </a:lnTo>
                    <a:lnTo>
                      <a:pt x="2523723" y="28976"/>
                    </a:lnTo>
                    <a:close/>
                  </a:path>
                  <a:path w="5028565" h="924560">
                    <a:moveTo>
                      <a:pt x="2523723" y="162326"/>
                    </a:moveTo>
                    <a:lnTo>
                      <a:pt x="2504673" y="162326"/>
                    </a:lnTo>
                    <a:lnTo>
                      <a:pt x="2504673" y="238526"/>
                    </a:lnTo>
                    <a:lnTo>
                      <a:pt x="2523723" y="238526"/>
                    </a:lnTo>
                    <a:lnTo>
                      <a:pt x="2523723" y="162326"/>
                    </a:lnTo>
                    <a:close/>
                  </a:path>
                  <a:path w="5028565" h="924560">
                    <a:moveTo>
                      <a:pt x="2523723" y="295676"/>
                    </a:moveTo>
                    <a:lnTo>
                      <a:pt x="2504673" y="295676"/>
                    </a:lnTo>
                    <a:lnTo>
                      <a:pt x="2504673" y="371876"/>
                    </a:lnTo>
                    <a:lnTo>
                      <a:pt x="2523723" y="371876"/>
                    </a:lnTo>
                    <a:lnTo>
                      <a:pt x="2523723" y="295676"/>
                    </a:lnTo>
                    <a:close/>
                  </a:path>
                  <a:path w="5028565" h="924560">
                    <a:moveTo>
                      <a:pt x="2523723" y="429026"/>
                    </a:moveTo>
                    <a:lnTo>
                      <a:pt x="2504673" y="429026"/>
                    </a:lnTo>
                    <a:lnTo>
                      <a:pt x="2504673" y="505226"/>
                    </a:lnTo>
                    <a:lnTo>
                      <a:pt x="2523723" y="505226"/>
                    </a:lnTo>
                    <a:lnTo>
                      <a:pt x="2523723" y="429026"/>
                    </a:lnTo>
                    <a:close/>
                  </a:path>
                  <a:path w="5028565" h="924560">
                    <a:moveTo>
                      <a:pt x="2523723" y="562376"/>
                    </a:moveTo>
                    <a:lnTo>
                      <a:pt x="2504673" y="562376"/>
                    </a:lnTo>
                    <a:lnTo>
                      <a:pt x="2504673" y="638576"/>
                    </a:lnTo>
                    <a:lnTo>
                      <a:pt x="2523723" y="638576"/>
                    </a:lnTo>
                    <a:lnTo>
                      <a:pt x="2523723" y="562376"/>
                    </a:lnTo>
                    <a:close/>
                  </a:path>
                  <a:path w="5028565" h="924560">
                    <a:moveTo>
                      <a:pt x="2523723" y="695726"/>
                    </a:moveTo>
                    <a:lnTo>
                      <a:pt x="2504673" y="695726"/>
                    </a:lnTo>
                    <a:lnTo>
                      <a:pt x="2504673" y="771926"/>
                    </a:lnTo>
                    <a:lnTo>
                      <a:pt x="2523723" y="771926"/>
                    </a:lnTo>
                    <a:lnTo>
                      <a:pt x="2523723" y="695726"/>
                    </a:lnTo>
                    <a:close/>
                  </a:path>
                  <a:path w="5028565" h="924560">
                    <a:moveTo>
                      <a:pt x="2523723" y="829076"/>
                    </a:moveTo>
                    <a:lnTo>
                      <a:pt x="2504673" y="829076"/>
                    </a:lnTo>
                    <a:lnTo>
                      <a:pt x="2504673" y="870160"/>
                    </a:lnTo>
                    <a:lnTo>
                      <a:pt x="2558839" y="870160"/>
                    </a:lnTo>
                    <a:lnTo>
                      <a:pt x="2558839" y="860635"/>
                    </a:lnTo>
                    <a:lnTo>
                      <a:pt x="2523723" y="860635"/>
                    </a:lnTo>
                    <a:lnTo>
                      <a:pt x="2514198" y="851110"/>
                    </a:lnTo>
                    <a:lnTo>
                      <a:pt x="2523723" y="851110"/>
                    </a:lnTo>
                    <a:lnTo>
                      <a:pt x="2523723" y="829076"/>
                    </a:lnTo>
                    <a:close/>
                  </a:path>
                  <a:path w="5028565" h="924560">
                    <a:moveTo>
                      <a:pt x="2523723" y="851110"/>
                    </a:moveTo>
                    <a:lnTo>
                      <a:pt x="2514198" y="851110"/>
                    </a:lnTo>
                    <a:lnTo>
                      <a:pt x="2523723" y="860635"/>
                    </a:lnTo>
                    <a:lnTo>
                      <a:pt x="2523723" y="851110"/>
                    </a:lnTo>
                    <a:close/>
                  </a:path>
                  <a:path w="5028565" h="924560">
                    <a:moveTo>
                      <a:pt x="2558839" y="851110"/>
                    </a:moveTo>
                    <a:lnTo>
                      <a:pt x="2523723" y="851110"/>
                    </a:lnTo>
                    <a:lnTo>
                      <a:pt x="2523723" y="860635"/>
                    </a:lnTo>
                    <a:lnTo>
                      <a:pt x="2558839" y="860635"/>
                    </a:lnTo>
                    <a:lnTo>
                      <a:pt x="2558839" y="851110"/>
                    </a:lnTo>
                    <a:close/>
                  </a:path>
                  <a:path w="5028565" h="924560">
                    <a:moveTo>
                      <a:pt x="2692189" y="851110"/>
                    </a:moveTo>
                    <a:lnTo>
                      <a:pt x="2615989" y="851110"/>
                    </a:lnTo>
                    <a:lnTo>
                      <a:pt x="2615989" y="870160"/>
                    </a:lnTo>
                    <a:lnTo>
                      <a:pt x="2692189" y="870160"/>
                    </a:lnTo>
                    <a:lnTo>
                      <a:pt x="2692189" y="851110"/>
                    </a:lnTo>
                    <a:close/>
                  </a:path>
                  <a:path w="5028565" h="924560">
                    <a:moveTo>
                      <a:pt x="2825539" y="851110"/>
                    </a:moveTo>
                    <a:lnTo>
                      <a:pt x="2749339" y="851110"/>
                    </a:lnTo>
                    <a:lnTo>
                      <a:pt x="2749339" y="870160"/>
                    </a:lnTo>
                    <a:lnTo>
                      <a:pt x="2825539" y="870160"/>
                    </a:lnTo>
                    <a:lnTo>
                      <a:pt x="2825539" y="851110"/>
                    </a:lnTo>
                    <a:close/>
                  </a:path>
                  <a:path w="5028565" h="924560">
                    <a:moveTo>
                      <a:pt x="2958889" y="851110"/>
                    </a:moveTo>
                    <a:lnTo>
                      <a:pt x="2882689" y="851110"/>
                    </a:lnTo>
                    <a:lnTo>
                      <a:pt x="2882689" y="870160"/>
                    </a:lnTo>
                    <a:lnTo>
                      <a:pt x="2958889" y="870160"/>
                    </a:lnTo>
                    <a:lnTo>
                      <a:pt x="2958889" y="851110"/>
                    </a:lnTo>
                    <a:close/>
                  </a:path>
                  <a:path w="5028565" h="924560">
                    <a:moveTo>
                      <a:pt x="3092239" y="851110"/>
                    </a:moveTo>
                    <a:lnTo>
                      <a:pt x="3016039" y="851110"/>
                    </a:lnTo>
                    <a:lnTo>
                      <a:pt x="3016039" y="870160"/>
                    </a:lnTo>
                    <a:lnTo>
                      <a:pt x="3092239" y="870160"/>
                    </a:lnTo>
                    <a:lnTo>
                      <a:pt x="3092239" y="851110"/>
                    </a:lnTo>
                    <a:close/>
                  </a:path>
                  <a:path w="5028565" h="924560">
                    <a:moveTo>
                      <a:pt x="3225589" y="851110"/>
                    </a:moveTo>
                    <a:lnTo>
                      <a:pt x="3149389" y="851110"/>
                    </a:lnTo>
                    <a:lnTo>
                      <a:pt x="3149389" y="870160"/>
                    </a:lnTo>
                    <a:lnTo>
                      <a:pt x="3225589" y="870160"/>
                    </a:lnTo>
                    <a:lnTo>
                      <a:pt x="3225589" y="851110"/>
                    </a:lnTo>
                    <a:close/>
                  </a:path>
                  <a:path w="5028565" h="924560">
                    <a:moveTo>
                      <a:pt x="3358939" y="851110"/>
                    </a:moveTo>
                    <a:lnTo>
                      <a:pt x="3282739" y="851110"/>
                    </a:lnTo>
                    <a:lnTo>
                      <a:pt x="3282739" y="870160"/>
                    </a:lnTo>
                    <a:lnTo>
                      <a:pt x="3358939" y="870160"/>
                    </a:lnTo>
                    <a:lnTo>
                      <a:pt x="3358939" y="851110"/>
                    </a:lnTo>
                    <a:close/>
                  </a:path>
                  <a:path w="5028565" h="924560">
                    <a:moveTo>
                      <a:pt x="3492289" y="851110"/>
                    </a:moveTo>
                    <a:lnTo>
                      <a:pt x="3416089" y="851110"/>
                    </a:lnTo>
                    <a:lnTo>
                      <a:pt x="3416089" y="870160"/>
                    </a:lnTo>
                    <a:lnTo>
                      <a:pt x="3492289" y="870160"/>
                    </a:lnTo>
                    <a:lnTo>
                      <a:pt x="3492289" y="851110"/>
                    </a:lnTo>
                    <a:close/>
                  </a:path>
                  <a:path w="5028565" h="924560">
                    <a:moveTo>
                      <a:pt x="3625639" y="851110"/>
                    </a:moveTo>
                    <a:lnTo>
                      <a:pt x="3549439" y="851110"/>
                    </a:lnTo>
                    <a:lnTo>
                      <a:pt x="3549439" y="870160"/>
                    </a:lnTo>
                    <a:lnTo>
                      <a:pt x="3625639" y="870160"/>
                    </a:lnTo>
                    <a:lnTo>
                      <a:pt x="3625639" y="851110"/>
                    </a:lnTo>
                    <a:close/>
                  </a:path>
                  <a:path w="5028565" h="924560">
                    <a:moveTo>
                      <a:pt x="3758989" y="851110"/>
                    </a:moveTo>
                    <a:lnTo>
                      <a:pt x="3682789" y="851110"/>
                    </a:lnTo>
                    <a:lnTo>
                      <a:pt x="3682789" y="870160"/>
                    </a:lnTo>
                    <a:lnTo>
                      <a:pt x="3758989" y="870160"/>
                    </a:lnTo>
                    <a:lnTo>
                      <a:pt x="3758989" y="851110"/>
                    </a:lnTo>
                    <a:close/>
                  </a:path>
                  <a:path w="5028565" h="924560">
                    <a:moveTo>
                      <a:pt x="3892339" y="851110"/>
                    </a:moveTo>
                    <a:lnTo>
                      <a:pt x="3816139" y="851110"/>
                    </a:lnTo>
                    <a:lnTo>
                      <a:pt x="3816139" y="870160"/>
                    </a:lnTo>
                    <a:lnTo>
                      <a:pt x="3892339" y="870160"/>
                    </a:lnTo>
                    <a:lnTo>
                      <a:pt x="3892339" y="851110"/>
                    </a:lnTo>
                    <a:close/>
                  </a:path>
                  <a:path w="5028565" h="924560">
                    <a:moveTo>
                      <a:pt x="4025689" y="851110"/>
                    </a:moveTo>
                    <a:lnTo>
                      <a:pt x="3949489" y="851110"/>
                    </a:lnTo>
                    <a:lnTo>
                      <a:pt x="3949489" y="870160"/>
                    </a:lnTo>
                    <a:lnTo>
                      <a:pt x="4025689" y="870160"/>
                    </a:lnTo>
                    <a:lnTo>
                      <a:pt x="4025689" y="851110"/>
                    </a:lnTo>
                    <a:close/>
                  </a:path>
                  <a:path w="5028565" h="924560">
                    <a:moveTo>
                      <a:pt x="4159039" y="851110"/>
                    </a:moveTo>
                    <a:lnTo>
                      <a:pt x="4082839" y="851110"/>
                    </a:lnTo>
                    <a:lnTo>
                      <a:pt x="4082839" y="870160"/>
                    </a:lnTo>
                    <a:lnTo>
                      <a:pt x="4159039" y="870160"/>
                    </a:lnTo>
                    <a:lnTo>
                      <a:pt x="4159039" y="851110"/>
                    </a:lnTo>
                    <a:close/>
                  </a:path>
                  <a:path w="5028565" h="924560">
                    <a:moveTo>
                      <a:pt x="4292389" y="851110"/>
                    </a:moveTo>
                    <a:lnTo>
                      <a:pt x="4216189" y="851110"/>
                    </a:lnTo>
                    <a:lnTo>
                      <a:pt x="4216189" y="870160"/>
                    </a:lnTo>
                    <a:lnTo>
                      <a:pt x="4292389" y="870160"/>
                    </a:lnTo>
                    <a:lnTo>
                      <a:pt x="4292389" y="851110"/>
                    </a:lnTo>
                    <a:close/>
                  </a:path>
                  <a:path w="5028565" h="924560">
                    <a:moveTo>
                      <a:pt x="4425739" y="851110"/>
                    </a:moveTo>
                    <a:lnTo>
                      <a:pt x="4349539" y="851110"/>
                    </a:lnTo>
                    <a:lnTo>
                      <a:pt x="4349539" y="870160"/>
                    </a:lnTo>
                    <a:lnTo>
                      <a:pt x="4425739" y="870160"/>
                    </a:lnTo>
                    <a:lnTo>
                      <a:pt x="4425739" y="851110"/>
                    </a:lnTo>
                    <a:close/>
                  </a:path>
                  <a:path w="5028565" h="924560">
                    <a:moveTo>
                      <a:pt x="4559089" y="851110"/>
                    </a:moveTo>
                    <a:lnTo>
                      <a:pt x="4482889" y="851110"/>
                    </a:lnTo>
                    <a:lnTo>
                      <a:pt x="4482889" y="870160"/>
                    </a:lnTo>
                    <a:lnTo>
                      <a:pt x="4559089" y="870160"/>
                    </a:lnTo>
                    <a:lnTo>
                      <a:pt x="4559089" y="851110"/>
                    </a:lnTo>
                    <a:close/>
                  </a:path>
                  <a:path w="5028565" h="924560">
                    <a:moveTo>
                      <a:pt x="4692439" y="851110"/>
                    </a:moveTo>
                    <a:lnTo>
                      <a:pt x="4616239" y="851110"/>
                    </a:lnTo>
                    <a:lnTo>
                      <a:pt x="4616239" y="870160"/>
                    </a:lnTo>
                    <a:lnTo>
                      <a:pt x="4692439" y="870160"/>
                    </a:lnTo>
                    <a:lnTo>
                      <a:pt x="4692439" y="851110"/>
                    </a:lnTo>
                    <a:close/>
                  </a:path>
                  <a:path w="5028565" h="924560">
                    <a:moveTo>
                      <a:pt x="4825789" y="851110"/>
                    </a:moveTo>
                    <a:lnTo>
                      <a:pt x="4749589" y="851110"/>
                    </a:lnTo>
                    <a:lnTo>
                      <a:pt x="4749589" y="870160"/>
                    </a:lnTo>
                    <a:lnTo>
                      <a:pt x="4825789" y="870160"/>
                    </a:lnTo>
                    <a:lnTo>
                      <a:pt x="4825789" y="851110"/>
                    </a:lnTo>
                    <a:close/>
                  </a:path>
                  <a:path w="5028565" h="924560">
                    <a:moveTo>
                      <a:pt x="4901398" y="797135"/>
                    </a:moveTo>
                    <a:lnTo>
                      <a:pt x="4901398" y="924135"/>
                    </a:lnTo>
                    <a:lnTo>
                      <a:pt x="5009348" y="870160"/>
                    </a:lnTo>
                    <a:lnTo>
                      <a:pt x="4914097" y="870160"/>
                    </a:lnTo>
                    <a:lnTo>
                      <a:pt x="4914097" y="851110"/>
                    </a:lnTo>
                    <a:lnTo>
                      <a:pt x="5009348" y="851110"/>
                    </a:lnTo>
                    <a:lnTo>
                      <a:pt x="4901398" y="797135"/>
                    </a:lnTo>
                    <a:close/>
                  </a:path>
                  <a:path w="5028565" h="924560">
                    <a:moveTo>
                      <a:pt x="4901398" y="851110"/>
                    </a:moveTo>
                    <a:lnTo>
                      <a:pt x="4882939" y="851110"/>
                    </a:lnTo>
                    <a:lnTo>
                      <a:pt x="4882939" y="870160"/>
                    </a:lnTo>
                    <a:lnTo>
                      <a:pt x="4901398" y="870160"/>
                    </a:lnTo>
                    <a:lnTo>
                      <a:pt x="4901398" y="851110"/>
                    </a:lnTo>
                    <a:close/>
                  </a:path>
                  <a:path w="5028565" h="924560">
                    <a:moveTo>
                      <a:pt x="5009348" y="851110"/>
                    </a:moveTo>
                    <a:lnTo>
                      <a:pt x="4914097" y="851110"/>
                    </a:lnTo>
                    <a:lnTo>
                      <a:pt x="4914097" y="870160"/>
                    </a:lnTo>
                    <a:lnTo>
                      <a:pt x="5009348" y="870160"/>
                    </a:lnTo>
                    <a:lnTo>
                      <a:pt x="5028398" y="860635"/>
                    </a:lnTo>
                    <a:lnTo>
                      <a:pt x="5009348" y="851110"/>
                    </a:lnTo>
                    <a:close/>
                  </a:path>
                </a:pathLst>
              </a:custGeom>
              <a:solidFill>
                <a:srgbClr val="0F6FC6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object 43">
                <a:extLst>
                  <a:ext uri="{FF2B5EF4-FFF2-40B4-BE49-F238E27FC236}">
                    <a16:creationId xmlns:a16="http://schemas.microsoft.com/office/drawing/2014/main" id="{34CC4A55-FE18-FFEF-3190-2C4FCF36798F}"/>
                  </a:ext>
                </a:extLst>
              </p:cNvPr>
              <p:cNvSpPr/>
              <p:nvPr/>
            </p:nvSpPr>
            <p:spPr>
              <a:xfrm>
                <a:off x="8420718" y="5189081"/>
                <a:ext cx="1085850" cy="831215"/>
              </a:xfrm>
              <a:custGeom>
                <a:avLst/>
                <a:gdLst/>
                <a:ahLst/>
                <a:cxnLst/>
                <a:rect l="l" t="t" r="r" b="b"/>
                <a:pathLst>
                  <a:path w="1085850" h="831214">
                    <a:moveTo>
                      <a:pt x="1085222" y="0"/>
                    </a:moveTo>
                    <a:lnTo>
                      <a:pt x="0" y="0"/>
                    </a:lnTo>
                    <a:lnTo>
                      <a:pt x="0" y="830997"/>
                    </a:lnTo>
                    <a:lnTo>
                      <a:pt x="1085222" y="830997"/>
                    </a:lnTo>
                    <a:lnTo>
                      <a:pt x="1085222" y="0"/>
                    </a:lnTo>
                    <a:close/>
                  </a:path>
                </a:pathLst>
              </a:custGeom>
              <a:solidFill>
                <a:srgbClr val="F2F2F2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0" name="object 44">
              <a:extLst>
                <a:ext uri="{FF2B5EF4-FFF2-40B4-BE49-F238E27FC236}">
                  <a16:creationId xmlns:a16="http://schemas.microsoft.com/office/drawing/2014/main" id="{43E5DF6F-E900-F3F5-1469-08E6A3467786}"/>
                </a:ext>
              </a:extLst>
            </p:cNvPr>
            <p:cNvSpPr txBox="1"/>
            <p:nvPr/>
          </p:nvSpPr>
          <p:spPr>
            <a:xfrm>
              <a:off x="8420718" y="5189080"/>
              <a:ext cx="1085850" cy="832242"/>
            </a:xfrm>
            <a:prstGeom prst="rect">
              <a:avLst/>
            </a:prstGeom>
          </p:spPr>
          <p:txBody>
            <a:bodyPr vert="horz" wrap="square" lIns="0" tIns="33020" rIns="0" bIns="0" rtlCol="0">
              <a:spAutoFit/>
            </a:bodyPr>
            <a:lstStyle/>
            <a:p>
              <a:pPr marL="90805" marR="160655">
                <a:lnSpc>
                  <a:spcPct val="99400"/>
                </a:lnSpc>
                <a:spcBef>
                  <a:spcPts val="260"/>
                </a:spcBef>
              </a:pPr>
              <a:r>
                <a:rPr sz="1100">
                  <a:latin typeface="Arial" panose="020B0604020202020204" pitchFamily="34" charset="0"/>
                  <a:cs typeface="Arial" panose="020B0604020202020204" pitchFamily="34" charset="0"/>
                </a:rPr>
                <a:t>RFNBO</a:t>
              </a:r>
              <a:r>
                <a:rPr sz="1100" spc="-15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100">
                  <a:latin typeface="Arial" panose="020B0604020202020204" pitchFamily="34" charset="0"/>
                  <a:cs typeface="Arial" panose="020B0604020202020204" pitchFamily="34" charset="0"/>
                </a:rPr>
                <a:t>in</a:t>
              </a:r>
              <a:r>
                <a:rPr sz="1100" spc="-2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100" spc="-25">
                  <a:latin typeface="Arial" panose="020B0604020202020204" pitchFamily="34" charset="0"/>
                  <a:cs typeface="Arial" panose="020B0604020202020204" pitchFamily="34" charset="0"/>
                </a:rPr>
                <a:t>the </a:t>
              </a:r>
              <a:r>
                <a:rPr sz="1100">
                  <a:latin typeface="Arial" panose="020B0604020202020204" pitchFamily="34" charset="0"/>
                  <a:cs typeface="Arial" panose="020B0604020202020204" pitchFamily="34" charset="0"/>
                </a:rPr>
                <a:t>Fuel</a:t>
              </a:r>
              <a:r>
                <a:rPr sz="1100" spc="-25">
                  <a:latin typeface="Arial" panose="020B0604020202020204" pitchFamily="34" charset="0"/>
                  <a:cs typeface="Arial" panose="020B0604020202020204" pitchFamily="34" charset="0"/>
                </a:rPr>
                <a:t> Mix </a:t>
              </a:r>
              <a:r>
                <a:rPr sz="1100" spc="-10">
                  <a:latin typeface="Arial" panose="020B0604020202020204" pitchFamily="34" charset="0"/>
                  <a:cs typeface="Arial" panose="020B0604020202020204" pitchFamily="34" charset="0"/>
                </a:rPr>
                <a:t>(reported</a:t>
              </a:r>
              <a:r>
                <a:rPr sz="110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100" spc="-25">
                  <a:latin typeface="Arial" panose="020B0604020202020204" pitchFamily="34" charset="0"/>
                  <a:cs typeface="Arial" panose="020B0604020202020204" pitchFamily="34" charset="0"/>
                </a:rPr>
                <a:t>in </a:t>
              </a:r>
              <a:r>
                <a:rPr sz="1100">
                  <a:latin typeface="Arial" panose="020B0604020202020204" pitchFamily="34" charset="0"/>
                  <a:cs typeface="Arial" panose="020B0604020202020204" pitchFamily="34" charset="0"/>
                </a:rPr>
                <a:t>MRV)</a:t>
              </a:r>
              <a:r>
                <a:rPr sz="1100" spc="-25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100">
                  <a:latin typeface="Arial" panose="020B0604020202020204" pitchFamily="34" charset="0"/>
                  <a:cs typeface="Arial" panose="020B0604020202020204" pitchFamily="34" charset="0"/>
                </a:rPr>
                <a:t>≥</a:t>
              </a:r>
              <a:r>
                <a:rPr sz="1100" spc="-15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sz="1100" spc="-25">
                  <a:latin typeface="Arial" panose="020B0604020202020204" pitchFamily="34" charset="0"/>
                  <a:cs typeface="Arial" panose="020B0604020202020204" pitchFamily="34" charset="0"/>
                </a:rPr>
                <a:t>2%</a:t>
              </a:r>
              <a:endParaRPr sz="11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object 45">
              <a:extLst>
                <a:ext uri="{FF2B5EF4-FFF2-40B4-BE49-F238E27FC236}">
                  <a16:creationId xmlns:a16="http://schemas.microsoft.com/office/drawing/2014/main" id="{1441CA4A-8EAC-82C6-6D7B-60E6D61B609B}"/>
                </a:ext>
              </a:extLst>
            </p:cNvPr>
            <p:cNvSpPr/>
            <p:nvPr/>
          </p:nvSpPr>
          <p:spPr>
            <a:xfrm>
              <a:off x="8953805" y="3126892"/>
              <a:ext cx="1506855" cy="1880870"/>
            </a:xfrm>
            <a:custGeom>
              <a:avLst/>
              <a:gdLst/>
              <a:ahLst/>
              <a:cxnLst/>
              <a:rect l="l" t="t" r="r" b="b"/>
              <a:pathLst>
                <a:path w="1506854" h="1880870">
                  <a:moveTo>
                    <a:pt x="19050" y="1593900"/>
                  </a:moveTo>
                  <a:lnTo>
                    <a:pt x="0" y="1593900"/>
                  </a:lnTo>
                  <a:lnTo>
                    <a:pt x="0" y="1670100"/>
                  </a:lnTo>
                  <a:lnTo>
                    <a:pt x="19050" y="1670100"/>
                  </a:lnTo>
                  <a:lnTo>
                    <a:pt x="19050" y="1593900"/>
                  </a:lnTo>
                  <a:close/>
                </a:path>
                <a:path w="1506854" h="1880870">
                  <a:moveTo>
                    <a:pt x="19050" y="1460550"/>
                  </a:moveTo>
                  <a:lnTo>
                    <a:pt x="0" y="1460550"/>
                  </a:lnTo>
                  <a:lnTo>
                    <a:pt x="0" y="1536750"/>
                  </a:lnTo>
                  <a:lnTo>
                    <a:pt x="19050" y="1536750"/>
                  </a:lnTo>
                  <a:lnTo>
                    <a:pt x="19050" y="1460550"/>
                  </a:lnTo>
                  <a:close/>
                </a:path>
                <a:path w="1506854" h="1880870">
                  <a:moveTo>
                    <a:pt x="19050" y="1327200"/>
                  </a:moveTo>
                  <a:lnTo>
                    <a:pt x="0" y="1327200"/>
                  </a:lnTo>
                  <a:lnTo>
                    <a:pt x="0" y="1403400"/>
                  </a:lnTo>
                  <a:lnTo>
                    <a:pt x="19050" y="1403400"/>
                  </a:lnTo>
                  <a:lnTo>
                    <a:pt x="19050" y="1327200"/>
                  </a:lnTo>
                  <a:close/>
                </a:path>
                <a:path w="1506854" h="1880870">
                  <a:moveTo>
                    <a:pt x="19050" y="1193850"/>
                  </a:moveTo>
                  <a:lnTo>
                    <a:pt x="0" y="1193850"/>
                  </a:lnTo>
                  <a:lnTo>
                    <a:pt x="0" y="1270050"/>
                  </a:lnTo>
                  <a:lnTo>
                    <a:pt x="19050" y="1270050"/>
                  </a:lnTo>
                  <a:lnTo>
                    <a:pt x="19050" y="1193850"/>
                  </a:lnTo>
                  <a:close/>
                </a:path>
                <a:path w="1506854" h="1880870">
                  <a:moveTo>
                    <a:pt x="19050" y="1060500"/>
                  </a:moveTo>
                  <a:lnTo>
                    <a:pt x="0" y="1060500"/>
                  </a:lnTo>
                  <a:lnTo>
                    <a:pt x="0" y="1136700"/>
                  </a:lnTo>
                  <a:lnTo>
                    <a:pt x="19050" y="1136700"/>
                  </a:lnTo>
                  <a:lnTo>
                    <a:pt x="19050" y="1060500"/>
                  </a:lnTo>
                  <a:close/>
                </a:path>
                <a:path w="1506854" h="1880870">
                  <a:moveTo>
                    <a:pt x="19050" y="927150"/>
                  </a:moveTo>
                  <a:lnTo>
                    <a:pt x="0" y="927150"/>
                  </a:lnTo>
                  <a:lnTo>
                    <a:pt x="0" y="1003350"/>
                  </a:lnTo>
                  <a:lnTo>
                    <a:pt x="19050" y="1003350"/>
                  </a:lnTo>
                  <a:lnTo>
                    <a:pt x="19050" y="927150"/>
                  </a:lnTo>
                  <a:close/>
                </a:path>
                <a:path w="1506854" h="1880870">
                  <a:moveTo>
                    <a:pt x="19050" y="793800"/>
                  </a:moveTo>
                  <a:lnTo>
                    <a:pt x="0" y="793800"/>
                  </a:lnTo>
                  <a:lnTo>
                    <a:pt x="0" y="870000"/>
                  </a:lnTo>
                  <a:lnTo>
                    <a:pt x="19050" y="870000"/>
                  </a:lnTo>
                  <a:lnTo>
                    <a:pt x="19050" y="793800"/>
                  </a:lnTo>
                  <a:close/>
                </a:path>
                <a:path w="1506854" h="1880870">
                  <a:moveTo>
                    <a:pt x="19050" y="660450"/>
                  </a:moveTo>
                  <a:lnTo>
                    <a:pt x="0" y="660450"/>
                  </a:lnTo>
                  <a:lnTo>
                    <a:pt x="0" y="736650"/>
                  </a:lnTo>
                  <a:lnTo>
                    <a:pt x="19050" y="736650"/>
                  </a:lnTo>
                  <a:lnTo>
                    <a:pt x="19050" y="660450"/>
                  </a:lnTo>
                  <a:close/>
                </a:path>
                <a:path w="1506854" h="1880870">
                  <a:moveTo>
                    <a:pt x="19050" y="527100"/>
                  </a:moveTo>
                  <a:lnTo>
                    <a:pt x="0" y="527100"/>
                  </a:lnTo>
                  <a:lnTo>
                    <a:pt x="0" y="603300"/>
                  </a:lnTo>
                  <a:lnTo>
                    <a:pt x="19050" y="603300"/>
                  </a:lnTo>
                  <a:lnTo>
                    <a:pt x="19050" y="527100"/>
                  </a:lnTo>
                  <a:close/>
                </a:path>
                <a:path w="1506854" h="1880870">
                  <a:moveTo>
                    <a:pt x="19050" y="393750"/>
                  </a:moveTo>
                  <a:lnTo>
                    <a:pt x="0" y="393750"/>
                  </a:lnTo>
                  <a:lnTo>
                    <a:pt x="0" y="469950"/>
                  </a:lnTo>
                  <a:lnTo>
                    <a:pt x="19050" y="469950"/>
                  </a:lnTo>
                  <a:lnTo>
                    <a:pt x="19050" y="393750"/>
                  </a:lnTo>
                  <a:close/>
                </a:path>
                <a:path w="1506854" h="1880870">
                  <a:moveTo>
                    <a:pt x="19050" y="260400"/>
                  </a:moveTo>
                  <a:lnTo>
                    <a:pt x="0" y="260400"/>
                  </a:lnTo>
                  <a:lnTo>
                    <a:pt x="0" y="336600"/>
                  </a:lnTo>
                  <a:lnTo>
                    <a:pt x="19050" y="336600"/>
                  </a:lnTo>
                  <a:lnTo>
                    <a:pt x="19050" y="260400"/>
                  </a:lnTo>
                  <a:close/>
                </a:path>
                <a:path w="1506854" h="1880870">
                  <a:moveTo>
                    <a:pt x="19050" y="127050"/>
                  </a:moveTo>
                  <a:lnTo>
                    <a:pt x="0" y="127050"/>
                  </a:lnTo>
                  <a:lnTo>
                    <a:pt x="0" y="203250"/>
                  </a:lnTo>
                  <a:lnTo>
                    <a:pt x="19050" y="203250"/>
                  </a:lnTo>
                  <a:lnTo>
                    <a:pt x="19050" y="127050"/>
                  </a:lnTo>
                  <a:close/>
                </a:path>
                <a:path w="1506854" h="1880870">
                  <a:moveTo>
                    <a:pt x="79324" y="54000"/>
                  </a:moveTo>
                  <a:lnTo>
                    <a:pt x="0" y="53975"/>
                  </a:lnTo>
                  <a:lnTo>
                    <a:pt x="0" y="69900"/>
                  </a:lnTo>
                  <a:lnTo>
                    <a:pt x="12636" y="69900"/>
                  </a:lnTo>
                  <a:lnTo>
                    <a:pt x="9512" y="73025"/>
                  </a:lnTo>
                  <a:lnTo>
                    <a:pt x="79324" y="73050"/>
                  </a:lnTo>
                  <a:lnTo>
                    <a:pt x="79324" y="69900"/>
                  </a:lnTo>
                  <a:lnTo>
                    <a:pt x="79324" y="63500"/>
                  </a:lnTo>
                  <a:lnTo>
                    <a:pt x="79324" y="54000"/>
                  </a:lnTo>
                  <a:close/>
                </a:path>
                <a:path w="1506854" h="1880870">
                  <a:moveTo>
                    <a:pt x="212674" y="54038"/>
                  </a:moveTo>
                  <a:lnTo>
                    <a:pt x="136474" y="54013"/>
                  </a:lnTo>
                  <a:lnTo>
                    <a:pt x="136474" y="73063"/>
                  </a:lnTo>
                  <a:lnTo>
                    <a:pt x="212674" y="73088"/>
                  </a:lnTo>
                  <a:lnTo>
                    <a:pt x="212674" y="54038"/>
                  </a:lnTo>
                  <a:close/>
                </a:path>
                <a:path w="1506854" h="1880870">
                  <a:moveTo>
                    <a:pt x="346024" y="54076"/>
                  </a:moveTo>
                  <a:lnTo>
                    <a:pt x="269824" y="54051"/>
                  </a:lnTo>
                  <a:lnTo>
                    <a:pt x="269824" y="73101"/>
                  </a:lnTo>
                  <a:lnTo>
                    <a:pt x="346024" y="73126"/>
                  </a:lnTo>
                  <a:lnTo>
                    <a:pt x="346024" y="54076"/>
                  </a:lnTo>
                  <a:close/>
                </a:path>
                <a:path w="1506854" h="1880870">
                  <a:moveTo>
                    <a:pt x="504139" y="1861413"/>
                  </a:moveTo>
                  <a:lnTo>
                    <a:pt x="427939" y="1861413"/>
                  </a:lnTo>
                  <a:lnTo>
                    <a:pt x="427939" y="1880463"/>
                  </a:lnTo>
                  <a:lnTo>
                    <a:pt x="504139" y="1880463"/>
                  </a:lnTo>
                  <a:lnTo>
                    <a:pt x="504139" y="1861413"/>
                  </a:lnTo>
                  <a:close/>
                </a:path>
                <a:path w="1506854" h="1880870">
                  <a:moveTo>
                    <a:pt x="510235" y="64630"/>
                  </a:moveTo>
                  <a:lnTo>
                    <a:pt x="383794" y="0"/>
                  </a:lnTo>
                  <a:lnTo>
                    <a:pt x="382676" y="127000"/>
                  </a:lnTo>
                  <a:lnTo>
                    <a:pt x="510235" y="64630"/>
                  </a:lnTo>
                  <a:close/>
                </a:path>
                <a:path w="1506854" h="1880870">
                  <a:moveTo>
                    <a:pt x="637489" y="1861413"/>
                  </a:moveTo>
                  <a:lnTo>
                    <a:pt x="561289" y="1861413"/>
                  </a:lnTo>
                  <a:lnTo>
                    <a:pt x="561289" y="1880463"/>
                  </a:lnTo>
                  <a:lnTo>
                    <a:pt x="637489" y="1880463"/>
                  </a:lnTo>
                  <a:lnTo>
                    <a:pt x="637489" y="1861413"/>
                  </a:lnTo>
                  <a:close/>
                </a:path>
                <a:path w="1506854" h="1880870">
                  <a:moveTo>
                    <a:pt x="770839" y="1861413"/>
                  </a:moveTo>
                  <a:lnTo>
                    <a:pt x="694639" y="1861413"/>
                  </a:lnTo>
                  <a:lnTo>
                    <a:pt x="694639" y="1880463"/>
                  </a:lnTo>
                  <a:lnTo>
                    <a:pt x="770839" y="1880463"/>
                  </a:lnTo>
                  <a:lnTo>
                    <a:pt x="770839" y="1861413"/>
                  </a:lnTo>
                  <a:close/>
                </a:path>
                <a:path w="1506854" h="1880870">
                  <a:moveTo>
                    <a:pt x="904189" y="1861413"/>
                  </a:moveTo>
                  <a:lnTo>
                    <a:pt x="827989" y="1861413"/>
                  </a:lnTo>
                  <a:lnTo>
                    <a:pt x="827989" y="1880463"/>
                  </a:lnTo>
                  <a:lnTo>
                    <a:pt x="904189" y="1880463"/>
                  </a:lnTo>
                  <a:lnTo>
                    <a:pt x="904189" y="1861413"/>
                  </a:lnTo>
                  <a:close/>
                </a:path>
                <a:path w="1506854" h="1880870">
                  <a:moveTo>
                    <a:pt x="1037539" y="1861413"/>
                  </a:moveTo>
                  <a:lnTo>
                    <a:pt x="961339" y="1861413"/>
                  </a:lnTo>
                  <a:lnTo>
                    <a:pt x="961339" y="1880463"/>
                  </a:lnTo>
                  <a:lnTo>
                    <a:pt x="1037539" y="1880463"/>
                  </a:lnTo>
                  <a:lnTo>
                    <a:pt x="1037539" y="1861413"/>
                  </a:lnTo>
                  <a:close/>
                </a:path>
                <a:path w="1506854" h="1880870">
                  <a:moveTo>
                    <a:pt x="1170889" y="1861413"/>
                  </a:moveTo>
                  <a:lnTo>
                    <a:pt x="1094689" y="1861413"/>
                  </a:lnTo>
                  <a:lnTo>
                    <a:pt x="1094689" y="1880463"/>
                  </a:lnTo>
                  <a:lnTo>
                    <a:pt x="1170889" y="1880463"/>
                  </a:lnTo>
                  <a:lnTo>
                    <a:pt x="1170889" y="1861413"/>
                  </a:lnTo>
                  <a:close/>
                </a:path>
                <a:path w="1506854" h="1880870">
                  <a:moveTo>
                    <a:pt x="1304239" y="1861413"/>
                  </a:moveTo>
                  <a:lnTo>
                    <a:pt x="1228039" y="1861413"/>
                  </a:lnTo>
                  <a:lnTo>
                    <a:pt x="1228039" y="1880463"/>
                  </a:lnTo>
                  <a:lnTo>
                    <a:pt x="1304239" y="1880463"/>
                  </a:lnTo>
                  <a:lnTo>
                    <a:pt x="1304239" y="1861413"/>
                  </a:lnTo>
                  <a:close/>
                </a:path>
                <a:path w="1506854" h="1880870">
                  <a:moveTo>
                    <a:pt x="1437589" y="1861413"/>
                  </a:moveTo>
                  <a:lnTo>
                    <a:pt x="1361389" y="1861413"/>
                  </a:lnTo>
                  <a:lnTo>
                    <a:pt x="1361389" y="1880463"/>
                  </a:lnTo>
                  <a:lnTo>
                    <a:pt x="1437589" y="1880463"/>
                  </a:lnTo>
                  <a:lnTo>
                    <a:pt x="1437589" y="1861413"/>
                  </a:lnTo>
                  <a:close/>
                </a:path>
                <a:path w="1506854" h="1880870">
                  <a:moveTo>
                    <a:pt x="1452435" y="1742922"/>
                  </a:moveTo>
                  <a:lnTo>
                    <a:pt x="1433385" y="1742922"/>
                  </a:lnTo>
                  <a:lnTo>
                    <a:pt x="1433385" y="1819122"/>
                  </a:lnTo>
                  <a:lnTo>
                    <a:pt x="1452435" y="1819122"/>
                  </a:lnTo>
                  <a:lnTo>
                    <a:pt x="1452435" y="1742922"/>
                  </a:lnTo>
                  <a:close/>
                </a:path>
                <a:path w="1506854" h="1880870">
                  <a:moveTo>
                    <a:pt x="1452435" y="1609572"/>
                  </a:moveTo>
                  <a:lnTo>
                    <a:pt x="1433385" y="1609572"/>
                  </a:lnTo>
                  <a:lnTo>
                    <a:pt x="1433385" y="1685772"/>
                  </a:lnTo>
                  <a:lnTo>
                    <a:pt x="1452435" y="1685772"/>
                  </a:lnTo>
                  <a:lnTo>
                    <a:pt x="1452435" y="1609572"/>
                  </a:lnTo>
                  <a:close/>
                </a:path>
                <a:path w="1506854" h="1880870">
                  <a:moveTo>
                    <a:pt x="1452435" y="1476222"/>
                  </a:moveTo>
                  <a:lnTo>
                    <a:pt x="1433385" y="1476222"/>
                  </a:lnTo>
                  <a:lnTo>
                    <a:pt x="1433385" y="1552422"/>
                  </a:lnTo>
                  <a:lnTo>
                    <a:pt x="1452435" y="1552422"/>
                  </a:lnTo>
                  <a:lnTo>
                    <a:pt x="1452435" y="1476222"/>
                  </a:lnTo>
                  <a:close/>
                </a:path>
                <a:path w="1506854" h="1880870">
                  <a:moveTo>
                    <a:pt x="1506410" y="1344574"/>
                  </a:moveTo>
                  <a:lnTo>
                    <a:pt x="1505559" y="1342872"/>
                  </a:lnTo>
                  <a:lnTo>
                    <a:pt x="1442910" y="1217574"/>
                  </a:lnTo>
                  <a:lnTo>
                    <a:pt x="1379410" y="1344574"/>
                  </a:lnTo>
                  <a:lnTo>
                    <a:pt x="1433385" y="1344574"/>
                  </a:lnTo>
                  <a:lnTo>
                    <a:pt x="1433385" y="1419072"/>
                  </a:lnTo>
                  <a:lnTo>
                    <a:pt x="1452435" y="1419072"/>
                  </a:lnTo>
                  <a:lnTo>
                    <a:pt x="1452435" y="1344574"/>
                  </a:lnTo>
                  <a:lnTo>
                    <a:pt x="1506410" y="1344574"/>
                  </a:lnTo>
                  <a:close/>
                </a:path>
              </a:pathLst>
            </a:custGeom>
            <a:solidFill>
              <a:srgbClr val="0C9B74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object 46">
              <a:extLst>
                <a:ext uri="{FF2B5EF4-FFF2-40B4-BE49-F238E27FC236}">
                  <a16:creationId xmlns:a16="http://schemas.microsoft.com/office/drawing/2014/main" id="{ED7F71AE-DB15-27D4-21D6-A339D231F236}"/>
                </a:ext>
              </a:extLst>
            </p:cNvPr>
            <p:cNvSpPr txBox="1"/>
            <p:nvPr/>
          </p:nvSpPr>
          <p:spPr>
            <a:xfrm>
              <a:off x="8710825" y="4599941"/>
              <a:ext cx="178435" cy="19714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b="1" spc="-25">
                  <a:latin typeface="Arial" panose="020B0604020202020204" pitchFamily="34" charset="0"/>
                  <a:cs typeface="Arial" panose="020B0604020202020204" pitchFamily="34" charset="0"/>
                </a:rPr>
                <a:t>No</a:t>
              </a:r>
              <a:endParaRPr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object 47">
              <a:extLst>
                <a:ext uri="{FF2B5EF4-FFF2-40B4-BE49-F238E27FC236}">
                  <a16:creationId xmlns:a16="http://schemas.microsoft.com/office/drawing/2014/main" id="{1BD396F0-56EB-0E26-EEFF-9B118BDCB3D6}"/>
                </a:ext>
              </a:extLst>
            </p:cNvPr>
            <p:cNvSpPr txBox="1"/>
            <p:nvPr/>
          </p:nvSpPr>
          <p:spPr>
            <a:xfrm>
              <a:off x="9603657" y="4773676"/>
              <a:ext cx="494752" cy="197142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b="1" spc="-25">
                  <a:latin typeface="Arial" panose="020B0604020202020204" pitchFamily="34" charset="0"/>
                  <a:cs typeface="Arial" panose="020B0604020202020204" pitchFamily="34" charset="0"/>
                </a:rPr>
                <a:t>Yes</a:t>
              </a:r>
              <a:endParaRPr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77D16C19-7BCC-5F08-2FA9-3370BF6B4B79}"/>
              </a:ext>
            </a:extLst>
          </p:cNvPr>
          <p:cNvSpPr txBox="1"/>
          <p:nvPr/>
        </p:nvSpPr>
        <p:spPr>
          <a:xfrm>
            <a:off x="904606" y="3361780"/>
            <a:ext cx="2522013" cy="17543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90805" marR="137160">
              <a:lnSpc>
                <a:spcPct val="100200"/>
              </a:lnSpc>
              <a:spcBef>
                <a:spcPts val="254"/>
              </a:spcBef>
            </a:pP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ommission</a:t>
            </a:r>
            <a:r>
              <a:rPr lang="en-US" sz="1200" spc="-5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hall</a:t>
            </a:r>
            <a:r>
              <a:rPr lang="en-US" sz="1200" spc="-4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spc="-20">
                <a:latin typeface="Arial" panose="020B0604020202020204" pitchFamily="34" charset="0"/>
                <a:cs typeface="Arial" panose="020B0604020202020204" pitchFamily="34" charset="0"/>
              </a:rPr>
              <a:t>monitor,</a:t>
            </a:r>
            <a:r>
              <a:rPr lang="en-US" sz="1200" spc="-4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spc="-10">
                <a:latin typeface="Arial" panose="020B0604020202020204" pitchFamily="34" charset="0"/>
                <a:cs typeface="Arial" panose="020B0604020202020204" pitchFamily="34" charset="0"/>
              </a:rPr>
              <a:t>calculate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en-US" sz="12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publish</a:t>
            </a:r>
            <a:r>
              <a:rPr lang="en-US" sz="12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spc="-20">
                <a:latin typeface="Arial" panose="020B0604020202020204" pitchFamily="34" charset="0"/>
                <a:cs typeface="Arial" panose="020B0604020202020204" pitchFamily="34" charset="0"/>
              </a:rPr>
              <a:t>annually,</a:t>
            </a:r>
            <a:r>
              <a:rPr lang="en-US" sz="12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on</a:t>
            </a:r>
            <a:r>
              <a:rPr lang="en-US" sz="1200" spc="-2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2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basis</a:t>
            </a:r>
            <a:r>
              <a:rPr lang="en-US" sz="1200" spc="-25"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2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en-US" sz="12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spc="-10">
                <a:latin typeface="Arial" panose="020B0604020202020204" pitchFamily="34" charset="0"/>
                <a:cs typeface="Arial" panose="020B0604020202020204" pitchFamily="34" charset="0"/>
              </a:rPr>
              <a:t>recorded</a:t>
            </a:r>
            <a:r>
              <a:rPr lang="en-US" sz="12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en-US" sz="1200" spc="-3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2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spc="-10" err="1">
                <a:latin typeface="Arial" panose="020B0604020202020204" pitchFamily="34" charset="0"/>
                <a:cs typeface="Arial" panose="020B0604020202020204" pitchFamily="34" charset="0"/>
              </a:rPr>
              <a:t>FuelEU</a:t>
            </a:r>
            <a:r>
              <a:rPr lang="en-US" sz="1200" spc="-10">
                <a:latin typeface="Arial" panose="020B0604020202020204" pitchFamily="34" charset="0"/>
                <a:cs typeface="Arial" panose="020B0604020202020204" pitchFamily="34" charset="0"/>
              </a:rPr>
              <a:t> database</a:t>
            </a:r>
            <a:r>
              <a:rPr lang="en-US" sz="1200" spc="-3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spc="-10">
                <a:latin typeface="Arial" panose="020B0604020202020204" pitchFamily="34" charset="0"/>
                <a:cs typeface="Arial" panose="020B0604020202020204" pitchFamily="34" charset="0"/>
              </a:rPr>
              <a:t>referred</a:t>
            </a:r>
            <a:r>
              <a:rPr lang="en-US" sz="1200" spc="-3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en-US" sz="1200" spc="-3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en-US" sz="1200" spc="-3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Article</a:t>
            </a:r>
            <a:r>
              <a:rPr lang="en-US" sz="1200" spc="-3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r>
              <a:rPr lang="en-US" sz="1200" spc="-3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spc="-25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200" b="1" u="sng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at</a:t>
            </a:r>
            <a:r>
              <a:rPr lang="en-US" sz="1200" b="1" u="sng" spc="-3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u="sng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200" b="1" u="sng" spc="-35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u="sng" spc="-1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latest</a:t>
            </a:r>
            <a:r>
              <a:rPr lang="en-US" sz="1200" b="1" u="sng" spc="-3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u="sng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en-US" sz="1200" b="1" u="sng" spc="-3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u="sng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months</a:t>
            </a:r>
            <a:r>
              <a:rPr lang="en-US" sz="1200" b="1" u="sng" spc="-3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u="sng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after</a:t>
            </a:r>
            <a:r>
              <a:rPr lang="en-US" sz="1200" b="1" u="sng" spc="-3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u="sng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200" b="1" u="sng" spc="-35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u="sng" spc="-25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r>
              <a:rPr lang="en-US" sz="1200" b="1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u="sng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en-US" sz="1200" b="1" u="sng" spc="-4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u="sng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each</a:t>
            </a:r>
            <a:r>
              <a:rPr lang="en-US" sz="1200" b="1" u="sng" spc="-4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u="sng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reporting</a:t>
            </a:r>
            <a:r>
              <a:rPr lang="en-US" sz="1200" b="1" u="sng" spc="-35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b="1" u="sng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eriod,</a:t>
            </a:r>
            <a:r>
              <a:rPr lang="en-US" sz="1200" spc="-3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200" spc="-3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share</a:t>
            </a:r>
            <a:r>
              <a:rPr lang="en-US" sz="1200" spc="-3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spc="-25"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sz="1200" spc="-10">
                <a:latin typeface="Arial" panose="020B0604020202020204" pitchFamily="34" charset="0"/>
                <a:cs typeface="Arial" panose="020B0604020202020204" pitchFamily="34" charset="0"/>
              </a:rPr>
              <a:t>RFNBO</a:t>
            </a:r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638C37C-125D-A173-4B28-FE6024C8DCF3}"/>
              </a:ext>
            </a:extLst>
          </p:cNvPr>
          <p:cNvSpPr/>
          <p:nvPr/>
        </p:nvSpPr>
        <p:spPr>
          <a:xfrm>
            <a:off x="904606" y="5745345"/>
            <a:ext cx="5842450" cy="720191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RFNBOs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US" sz="1400" spc="-1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RFNBO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multiplier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en-US" sz="1400" spc="-2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from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spc="-20">
                <a:latin typeface="Arial" panose="020B0604020202020204" pitchFamily="34" charset="0"/>
                <a:cs typeface="Arial" panose="020B0604020202020204" pitchFamily="34" charset="0"/>
              </a:rPr>
              <a:t>2025-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2033</a:t>
            </a:r>
            <a:r>
              <a:rPr lang="en-US" sz="1400" spc="-1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en-US" sz="1400" spc="-2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if</a:t>
            </a:r>
            <a:r>
              <a:rPr lang="en-US" sz="1400" spc="-2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spc="-10">
                <a:latin typeface="Arial" panose="020B0604020202020204" pitchFamily="34" charset="0"/>
                <a:cs typeface="Arial" panose="020B0604020202020204" pitchFamily="34" charset="0"/>
              </a:rPr>
              <a:t>RFNBO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shares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sz="1400" spc="-2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maritime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fuel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mix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en-US" sz="1400" spc="-3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less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than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1%</a:t>
            </a:r>
            <a:r>
              <a:rPr lang="en-US" sz="1400" spc="-2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2031</a:t>
            </a:r>
            <a:r>
              <a:rPr lang="en-US" sz="1400" spc="-1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spc="-50">
                <a:latin typeface="Arial" panose="020B0604020202020204" pitchFamily="34" charset="0"/>
                <a:cs typeface="Arial" panose="020B0604020202020204" pitchFamily="34" charset="0"/>
              </a:rPr>
              <a:t>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RFNBO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spc="-10">
                <a:latin typeface="Arial" panose="020B0604020202020204" pitchFamily="34" charset="0"/>
                <a:cs typeface="Arial" panose="020B0604020202020204" pitchFamily="34" charset="0"/>
              </a:rPr>
              <a:t>sub-target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en-US" sz="1400" spc="-1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 spc="-2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en-US" sz="1400" spc="-2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will</a:t>
            </a:r>
            <a:r>
              <a:rPr lang="en-US" sz="1400" spc="-1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kick</a:t>
            </a:r>
            <a:r>
              <a:rPr lang="en-US" sz="1400" spc="-2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en-US" sz="1400" spc="-1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from</a:t>
            </a:r>
            <a:r>
              <a:rPr lang="en-US" sz="1400" spc="-15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spc="-10">
                <a:latin typeface="Arial" panose="020B0604020202020204" pitchFamily="34" charset="0"/>
                <a:cs typeface="Arial" panose="020B0604020202020204" pitchFamily="34" charset="0"/>
              </a:rPr>
              <a:t>2034</a:t>
            </a:r>
            <a:endParaRPr lang="da-DK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itle 44">
            <a:extLst>
              <a:ext uri="{FF2B5EF4-FFF2-40B4-BE49-F238E27FC236}">
                <a16:creationId xmlns:a16="http://schemas.microsoft.com/office/drawing/2014/main" id="{0FB4BF2E-3494-7346-8EC5-6A2B7796417A}"/>
              </a:ext>
            </a:extLst>
          </p:cNvPr>
          <p:cNvSpPr txBox="1">
            <a:spLocks/>
          </p:cNvSpPr>
          <p:nvPr/>
        </p:nvSpPr>
        <p:spPr>
          <a:xfrm>
            <a:off x="510543" y="396952"/>
            <a:ext cx="11160125" cy="49738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4200"/>
              </a:lnSpc>
              <a:spcBef>
                <a:spcPct val="0"/>
              </a:spcBef>
              <a:buNone/>
              <a:defRPr sz="30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pc="-1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entivizing e-fuels</a:t>
            </a:r>
            <a:endParaRPr lang="da-DK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233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reveal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29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vG62PeD5aCMFGnkYoq9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OOxTP16F4GeGGKaNrH1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8UZHk7RuTECA8PXaQP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49Isu70rNCRH01i.s9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6K5CYkOleYiqJhXBjV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ymX53O2gHFrnHkVEk6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abtds2_V.IWV2vnYkR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KAan7TbrljH2siXhHq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Ahuje.N6dytdOime.H3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wOARKFRUKr4F5cjym2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o_Qc7Iki9C4ggBJbZx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gyRpIZr1kCHHYnLAtO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HeGSDfZhmnN2w_lYOfT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krreGY6GRsYYjmSdF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jl3aW5RvZeGWZws79n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vfPeU.nNcM2pmxHVtG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0CahlHP.8JF2ZmITv.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4ttSpqUbQ7OhlmFkGq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hV6y1sCa5exHvABvZF2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Vv_YRF1qIb.IbPtPH3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gdkCw8GpyWFbcmWk9Y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JK4J_2ym3GW.uf3gTU2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ltx675T2wba5YaDqSn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MInTJkqvDBkZeqaM24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PXSIbcOLAttvWTlQq47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2TuRL_ixxH9DgUmSFCE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i7XHceemd9nyLUfmHG2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Fr.5lph7Rc.mu_BaJyI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cM.YJcpHFWCjMzc_s3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8dFy9AA6apzUIda9Tr7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.PorWD46hSQi3Wur1X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T58VoDx89._qQ19hmvS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u42x5OjcW1dy0MPNgM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WGGvrRHoLH7qCZfWFb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1cgPpI3SNe3MZyrZzw2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z.ca9eXIJrkmC8jfHMb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S5rzOGt6Z58YgyGhJs1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g04XRIpZyHOiFd307P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O5Gse6bD18t0EdL5pl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39zWilB5De1Nkhn1tZ_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YGZnavPmGKCImBDQngy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Eyaq94IOUkCfDu.ulcr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als8lEU.gsoxavT1.w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D3jZsmYolVMD_LQMM2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uW6xjkhKJ2UwQftolJQ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4P48T_Z6Q4EyE9OUqyc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oEXnGeoStpRx1995w_K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ACXNm6mMzRy6NFSGX.f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H 2023 Theme">
  <a:themeElements>
    <a:clrScheme name="BHG template 2023">
      <a:dk1>
        <a:srgbClr val="001E3B"/>
      </a:dk1>
      <a:lt1>
        <a:srgbClr val="FFFFFF"/>
      </a:lt1>
      <a:dk2>
        <a:srgbClr val="DA281C"/>
      </a:dk2>
      <a:lt2>
        <a:srgbClr val="E9E4E4"/>
      </a:lt2>
      <a:accent1>
        <a:srgbClr val="CBC0BF"/>
      </a:accent1>
      <a:accent2>
        <a:srgbClr val="4797A8"/>
      </a:accent2>
      <a:accent3>
        <a:srgbClr val="6E80A9"/>
      </a:accent3>
      <a:accent4>
        <a:srgbClr val="4E5F55"/>
      </a:accent4>
      <a:accent5>
        <a:srgbClr val="D59861"/>
      </a:accent5>
      <a:accent6>
        <a:srgbClr val="577FA9"/>
      </a:accent6>
      <a:hlink>
        <a:srgbClr val="001E38"/>
      </a:hlink>
      <a:folHlink>
        <a:srgbClr val="001E38"/>
      </a:folHlink>
    </a:clrScheme>
    <a:fontScheme name="BH2023 theme">
      <a:majorFont>
        <a:latin typeface="Knockout HTF48-Featherweight"/>
        <a:ea typeface=""/>
        <a:cs typeface=""/>
      </a:majorFont>
      <a:minorFont>
        <a:latin typeface="GT Walsheim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b="0" i="0" dirty="0" smtClean="0">
            <a:latin typeface="GT Walsheim Pro Light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70423_Team E meeting_vPre-read" id="{4230EFF5-0E8B-40C3-9B4E-13A5A0E5700E}" vid="{A89094D7-FACF-4EBB-82A2-402C3EC7D68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BH 2023 Theme">
  <a:themeElements>
    <a:clrScheme name="BHG template 2023">
      <a:dk1>
        <a:srgbClr val="001E3B"/>
      </a:dk1>
      <a:lt1>
        <a:srgbClr val="FFFFFF"/>
      </a:lt1>
      <a:dk2>
        <a:srgbClr val="DA281C"/>
      </a:dk2>
      <a:lt2>
        <a:srgbClr val="E9E4E4"/>
      </a:lt2>
      <a:accent1>
        <a:srgbClr val="CBC0BF"/>
      </a:accent1>
      <a:accent2>
        <a:srgbClr val="4797A8"/>
      </a:accent2>
      <a:accent3>
        <a:srgbClr val="6E80A9"/>
      </a:accent3>
      <a:accent4>
        <a:srgbClr val="4E5F55"/>
      </a:accent4>
      <a:accent5>
        <a:srgbClr val="D59861"/>
      </a:accent5>
      <a:accent6>
        <a:srgbClr val="577FA9"/>
      </a:accent6>
      <a:hlink>
        <a:srgbClr val="001E38"/>
      </a:hlink>
      <a:folHlink>
        <a:srgbClr val="001E38"/>
      </a:folHlink>
    </a:clrScheme>
    <a:fontScheme name="Brugerdefineret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b="0" i="0" dirty="0" smtClean="0">
            <a:latin typeface="GT Walsheim Pro Light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H template" id="{7089FD3F-98F8-0F48-8DD7-CBA9ED505525}" vid="{12EBDFE8-3355-9640-9BA4-2903D62263C0}"/>
    </a:ext>
  </a:extLst>
</a:theme>
</file>

<file path=ppt/theme/theme4.xml><?xml version="1.0" encoding="utf-8"?>
<a:theme xmlns:a="http://schemas.openxmlformats.org/drawingml/2006/main" name="2_BH 2023 Theme">
  <a:themeElements>
    <a:clrScheme name="BHG template 2023">
      <a:dk1>
        <a:srgbClr val="001E3B"/>
      </a:dk1>
      <a:lt1>
        <a:srgbClr val="FFFFFF"/>
      </a:lt1>
      <a:dk2>
        <a:srgbClr val="DA281C"/>
      </a:dk2>
      <a:lt2>
        <a:srgbClr val="E9E4E4"/>
      </a:lt2>
      <a:accent1>
        <a:srgbClr val="CBC0BF"/>
      </a:accent1>
      <a:accent2>
        <a:srgbClr val="4797A8"/>
      </a:accent2>
      <a:accent3>
        <a:srgbClr val="6E80A9"/>
      </a:accent3>
      <a:accent4>
        <a:srgbClr val="4E5F55"/>
      </a:accent4>
      <a:accent5>
        <a:srgbClr val="D59861"/>
      </a:accent5>
      <a:accent6>
        <a:srgbClr val="577FA9"/>
      </a:accent6>
      <a:hlink>
        <a:srgbClr val="001E38"/>
      </a:hlink>
      <a:folHlink>
        <a:srgbClr val="001E38"/>
      </a:folHlink>
    </a:clrScheme>
    <a:fontScheme name="Brugerdefineret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b="0" i="0" dirty="0" smtClean="0">
            <a:latin typeface="GT Walsheim Pro Light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H template" id="{7089FD3F-98F8-0F48-8DD7-CBA9ED505525}" vid="{12EBDFE8-3355-9640-9BA4-2903D62263C0}"/>
    </a:ext>
  </a:extLst>
</a:theme>
</file>

<file path=ppt/theme/theme5.xml><?xml version="1.0" encoding="utf-8"?>
<a:theme xmlns:a="http://schemas.openxmlformats.org/drawingml/2006/main" name="BH 2023 Theme">
  <a:themeElements>
    <a:clrScheme name="BHG template 2023">
      <a:dk1>
        <a:srgbClr val="001E3B"/>
      </a:dk1>
      <a:lt1>
        <a:srgbClr val="FFFFFF"/>
      </a:lt1>
      <a:dk2>
        <a:srgbClr val="DA281C"/>
      </a:dk2>
      <a:lt2>
        <a:srgbClr val="E9E4E4"/>
      </a:lt2>
      <a:accent1>
        <a:srgbClr val="CBC0BF"/>
      </a:accent1>
      <a:accent2>
        <a:srgbClr val="4797A8"/>
      </a:accent2>
      <a:accent3>
        <a:srgbClr val="6E80A9"/>
      </a:accent3>
      <a:accent4>
        <a:srgbClr val="4E5F55"/>
      </a:accent4>
      <a:accent5>
        <a:srgbClr val="D59861"/>
      </a:accent5>
      <a:accent6>
        <a:srgbClr val="577FA9"/>
      </a:accent6>
      <a:hlink>
        <a:srgbClr val="001E38"/>
      </a:hlink>
      <a:folHlink>
        <a:srgbClr val="001E38"/>
      </a:folHlink>
    </a:clrScheme>
    <a:fontScheme name="Brugerdefineret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b="0" i="0" dirty="0" smtClean="0">
            <a:latin typeface="GT Walsheim Pro Light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H template_10-05-23" id="{DFE62500-989C-1D4C-A672-6AF2197207C1}" vid="{08D26AF1-75FE-6A48-9656-4EE870E1ACE2}"/>
    </a:ext>
  </a:extLst>
</a:theme>
</file>

<file path=ppt/theme/theme6.xml><?xml version="1.0" encoding="utf-8"?>
<a:theme xmlns:a="http://schemas.openxmlformats.org/drawingml/2006/main" name="3_BH 2023 Theme">
  <a:themeElements>
    <a:clrScheme name="BHG template 2023">
      <a:dk1>
        <a:srgbClr val="001E3B"/>
      </a:dk1>
      <a:lt1>
        <a:srgbClr val="FFFFFF"/>
      </a:lt1>
      <a:dk2>
        <a:srgbClr val="DA281C"/>
      </a:dk2>
      <a:lt2>
        <a:srgbClr val="E9E4E4"/>
      </a:lt2>
      <a:accent1>
        <a:srgbClr val="CBC0BF"/>
      </a:accent1>
      <a:accent2>
        <a:srgbClr val="4797A8"/>
      </a:accent2>
      <a:accent3>
        <a:srgbClr val="6E80A9"/>
      </a:accent3>
      <a:accent4>
        <a:srgbClr val="4E5F55"/>
      </a:accent4>
      <a:accent5>
        <a:srgbClr val="D59861"/>
      </a:accent5>
      <a:accent6>
        <a:srgbClr val="577FA9"/>
      </a:accent6>
      <a:hlink>
        <a:srgbClr val="001E38"/>
      </a:hlink>
      <a:folHlink>
        <a:srgbClr val="001E38"/>
      </a:folHlink>
    </a:clrScheme>
    <a:fontScheme name="BH2023 theme">
      <a:majorFont>
        <a:latin typeface="Knockout HTF48-Featherweight"/>
        <a:ea typeface=""/>
        <a:cs typeface=""/>
      </a:majorFont>
      <a:minorFont>
        <a:latin typeface="GT Walsheim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b="0" i="0" dirty="0" smtClean="0">
            <a:latin typeface="GT Walsheim Pro Light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70423_Team E meeting_vPre-read" id="{4230EFF5-0E8B-40C3-9B4E-13A5A0E5700E}" vid="{A89094D7-FACF-4EBB-82A2-402C3EC7D688}"/>
    </a:ext>
  </a:extLst>
</a:theme>
</file>

<file path=ppt/theme/theme7.xml><?xml version="1.0" encoding="utf-8"?>
<a:theme xmlns:a="http://schemas.openxmlformats.org/drawingml/2006/main" name="4_BH 2023 Theme">
  <a:themeElements>
    <a:clrScheme name="BHG template 2023">
      <a:dk1>
        <a:srgbClr val="001E3B"/>
      </a:dk1>
      <a:lt1>
        <a:srgbClr val="FFFFFF"/>
      </a:lt1>
      <a:dk2>
        <a:srgbClr val="DA281C"/>
      </a:dk2>
      <a:lt2>
        <a:srgbClr val="E9E4E4"/>
      </a:lt2>
      <a:accent1>
        <a:srgbClr val="CBC0BF"/>
      </a:accent1>
      <a:accent2>
        <a:srgbClr val="4797A8"/>
      </a:accent2>
      <a:accent3>
        <a:srgbClr val="6E80A9"/>
      </a:accent3>
      <a:accent4>
        <a:srgbClr val="4E5F55"/>
      </a:accent4>
      <a:accent5>
        <a:srgbClr val="D59861"/>
      </a:accent5>
      <a:accent6>
        <a:srgbClr val="577FA9"/>
      </a:accent6>
      <a:hlink>
        <a:srgbClr val="001E38"/>
      </a:hlink>
      <a:folHlink>
        <a:srgbClr val="001E38"/>
      </a:folHlink>
    </a:clrScheme>
    <a:fontScheme name="Brugerdefineret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b="0" i="0" dirty="0" smtClean="0">
            <a:latin typeface="GT Walsheim Pro Light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oard Meeting_10-05-23" id="{CA786291-9ED3-E542-804D-6B73B0B13F6D}" vid="{1B53F6B5-3772-3741-97D6-F14EA5410D47}"/>
    </a:ext>
  </a:extLst>
</a:theme>
</file>

<file path=ppt/theme/theme8.xml><?xml version="1.0" encoding="utf-8"?>
<a:theme xmlns:a="http://schemas.openxmlformats.org/drawingml/2006/main" name="6_BH 2023 Theme">
  <a:themeElements>
    <a:clrScheme name="BHG template 2023 1">
      <a:dk1>
        <a:srgbClr val="001E3B"/>
      </a:dk1>
      <a:lt1>
        <a:srgbClr val="FFFFFF"/>
      </a:lt1>
      <a:dk2>
        <a:srgbClr val="DA281C"/>
      </a:dk2>
      <a:lt2>
        <a:srgbClr val="E9E4E4"/>
      </a:lt2>
      <a:accent1>
        <a:srgbClr val="CBC0BF"/>
      </a:accent1>
      <a:accent2>
        <a:srgbClr val="4797A8"/>
      </a:accent2>
      <a:accent3>
        <a:srgbClr val="6E80A9"/>
      </a:accent3>
      <a:accent4>
        <a:srgbClr val="4E5F55"/>
      </a:accent4>
      <a:accent5>
        <a:srgbClr val="D59861"/>
      </a:accent5>
      <a:accent6>
        <a:srgbClr val="577FA9"/>
      </a:accent6>
      <a:hlink>
        <a:srgbClr val="001E38"/>
      </a:hlink>
      <a:folHlink>
        <a:srgbClr val="001E38"/>
      </a:folHlink>
    </a:clrScheme>
    <a:fontScheme name="BH2023 theme">
      <a:majorFont>
        <a:latin typeface="Knockout HTF48-Featherweight"/>
        <a:ea typeface=""/>
        <a:cs typeface=""/>
      </a:majorFont>
      <a:minorFont>
        <a:latin typeface="GT Walsheim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200" b="0" i="0" dirty="0" smtClean="0">
            <a:latin typeface="GT Walsheim Pro Light" pitchFamily="2" charset="77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70423_Team E meeting_vPre-read" id="{4230EFF5-0E8B-40C3-9B4E-13A5A0E5700E}" vid="{945CC52B-248F-468F-BEF2-5FD25FB74210}"/>
    </a:ext>
  </a:extLst>
</a:theme>
</file>

<file path=ppt/theme/theme9.xml><?xml version="1.0" encoding="utf-8"?>
<a:theme xmlns:a="http://schemas.openxmlformats.org/drawingml/2006/main" name="Office-tema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2510233-35ca-40d4-b3b5-048eaa48a544">
      <UserInfo>
        <DisplayName>Morten Schjødtz Bertelsen</DisplayName>
        <AccountId>39</AccountId>
        <AccountType/>
      </UserInfo>
      <UserInfo>
        <DisplayName>Marianne Brorsen</DisplayName>
        <AccountId>54</AccountId>
        <AccountType/>
      </UserInfo>
      <UserInfo>
        <DisplayName>Manja Ostertag</DisplayName>
        <AccountId>27</AccountId>
        <AccountType/>
      </UserInfo>
      <UserInfo>
        <DisplayName>Carlos Gilberto Torres Padilla</DisplayName>
        <AccountId>25</AccountId>
        <AccountType/>
      </UserInfo>
      <UserInfo>
        <DisplayName>Edward Glossop</DisplayName>
        <AccountId>14</AccountId>
        <AccountType/>
      </UserInfo>
      <UserInfo>
        <DisplayName>Maria Skipper Schwenn</DisplayName>
        <AccountId>32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AE6503AAEDA49900CE22771E53CB8" ma:contentTypeVersion="6" ma:contentTypeDescription="Create a new document." ma:contentTypeScope="" ma:versionID="db7530a4c3657baa37b11746f56de383">
  <xsd:schema xmlns:xsd="http://www.w3.org/2001/XMLSchema" xmlns:xs="http://www.w3.org/2001/XMLSchema" xmlns:p="http://schemas.microsoft.com/office/2006/metadata/properties" xmlns:ns2="79dee883-2b18-48ca-9457-e5219877ef1f" xmlns:ns3="42510233-35ca-40d4-b3b5-048eaa48a544" targetNamespace="http://schemas.microsoft.com/office/2006/metadata/properties" ma:root="true" ma:fieldsID="c51d066a73d74300edd483a7458dc091" ns2:_="" ns3:_="">
    <xsd:import namespace="79dee883-2b18-48ca-9457-e5219877ef1f"/>
    <xsd:import namespace="42510233-35ca-40d4-b3b5-048eaa48a5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dee883-2b18-48ca-9457-e5219877ef1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510233-35ca-40d4-b3b5-048eaa48a54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31FF1D3-88C8-4D05-AC58-EF049EF1D0C2}">
  <ds:schemaRefs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  <ds:schemaRef ds:uri="http://purl.org/dc/elements/1.1/"/>
    <ds:schemaRef ds:uri="79dee883-2b18-48ca-9457-e5219877ef1f"/>
    <ds:schemaRef ds:uri="http://schemas.microsoft.com/office/infopath/2007/PartnerControls"/>
    <ds:schemaRef ds:uri="42510233-35ca-40d4-b3b5-048eaa48a544"/>
  </ds:schemaRefs>
</ds:datastoreItem>
</file>

<file path=customXml/itemProps2.xml><?xml version="1.0" encoding="utf-8"?>
<ds:datastoreItem xmlns:ds="http://schemas.openxmlformats.org/officeDocument/2006/customXml" ds:itemID="{8AC0CF97-2C61-40E2-9E2E-78031323F419}">
  <ds:schemaRefs>
    <ds:schemaRef ds:uri="42510233-35ca-40d4-b3b5-048eaa48a544"/>
    <ds:schemaRef ds:uri="79dee883-2b18-48ca-9457-e5219877ef1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F74BDBB-06D9-4E26-8662-70C6990B279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H template PC_15-03-23</Template>
  <TotalTime>3380</TotalTime>
  <Words>2052</Words>
  <Application>Microsoft Macintosh PowerPoint</Application>
  <PresentationFormat>Geniş ekran</PresentationFormat>
  <Paragraphs>338</Paragraphs>
  <Slides>20</Slides>
  <Notes>11</Notes>
  <HiddenSlides>2</HiddenSlides>
  <MMClips>0</MMClips>
  <ScaleCrop>false</ScaleCrop>
  <HeadingPairs>
    <vt:vector size="8" baseType="variant">
      <vt:variant>
        <vt:lpstr>Kullanılan Yazı Tipleri</vt:lpstr>
      </vt:variant>
      <vt:variant>
        <vt:i4>15</vt:i4>
      </vt:variant>
      <vt:variant>
        <vt:lpstr>Tema</vt:lpstr>
      </vt:variant>
      <vt:variant>
        <vt:i4>8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20</vt:i4>
      </vt:variant>
    </vt:vector>
  </HeadingPairs>
  <TitlesOfParts>
    <vt:vector size="44" baseType="lpstr">
      <vt:lpstr>Arial (Headings)</vt:lpstr>
      <vt:lpstr>Arial</vt:lpstr>
      <vt:lpstr>GT Walsheim Pro Bold</vt:lpstr>
      <vt:lpstr>Calibri</vt:lpstr>
      <vt:lpstr>GT Walsheim Pro Light</vt:lpstr>
      <vt:lpstr>GT Walsheim Pro</vt:lpstr>
      <vt:lpstr>GT Walsheim Pro Regular</vt:lpstr>
      <vt:lpstr>Wingdings</vt:lpstr>
      <vt:lpstr>Neue montreal</vt:lpstr>
      <vt:lpstr>Knockout HTF48-Featherweight</vt:lpstr>
      <vt:lpstr>Calibri Light</vt:lpstr>
      <vt:lpstr>Neue montrael</vt:lpstr>
      <vt:lpstr>Times New Roman</vt:lpstr>
      <vt:lpstr>ＭＳ Ｐゴシック</vt:lpstr>
      <vt:lpstr>inherit</vt:lpstr>
      <vt:lpstr>1_BH 2023 Theme</vt:lpstr>
      <vt:lpstr>Office Theme</vt:lpstr>
      <vt:lpstr>5_BH 2023 Theme</vt:lpstr>
      <vt:lpstr>2_BH 2023 Theme</vt:lpstr>
      <vt:lpstr>BH 2023 Theme</vt:lpstr>
      <vt:lpstr>3_BH 2023 Theme</vt:lpstr>
      <vt:lpstr>4_BH 2023 Theme</vt:lpstr>
      <vt:lpstr>6_BH 2023 Theme</vt:lpstr>
      <vt:lpstr>think-cell Slide</vt:lpstr>
      <vt:lpstr> Fuel EU maritime &amp; Imo  Maria skipper Schwenn Director of environmental regulatory  and public affairs </vt:lpstr>
      <vt:lpstr>Bunker holding group in numbers</vt:lpstr>
      <vt:lpstr>The hurricane of regulations </vt:lpstr>
      <vt:lpstr>FUEL EU MARITIME  </vt:lpstr>
      <vt:lpstr>well-to-wake PERSPECTIVE</vt:lpstr>
      <vt:lpstr>Upstream (well-to-tank) emissions matter</vt:lpstr>
      <vt:lpstr>FEUM vs. EU ETS</vt:lpstr>
      <vt:lpstr>EU ETS and FuelEU maritime: regional scope</vt:lpstr>
      <vt:lpstr>PowerPoint Sunusu</vt:lpstr>
      <vt:lpstr>Pooling borrowing Banking</vt:lpstr>
      <vt:lpstr>Pooling</vt:lpstr>
      <vt:lpstr>Banking &amp; borrowing + penalty</vt:lpstr>
      <vt:lpstr>Compliance Timeline</vt:lpstr>
      <vt:lpstr>PowerPoint Sunusu</vt:lpstr>
      <vt:lpstr>revised Imo ghg strategy</vt:lpstr>
      <vt:lpstr>IMO</vt:lpstr>
      <vt:lpstr>Conclusion</vt:lpstr>
      <vt:lpstr>Thank You</vt:lpstr>
      <vt:lpstr>Mid-term measures</vt:lpstr>
      <vt:lpstr>EU ETS: vessel scop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Mette Isaksen</dc:creator>
  <cp:keywords/>
  <dc:description/>
  <cp:lastModifiedBy>Hüseyin Çınar</cp:lastModifiedBy>
  <cp:revision>4</cp:revision>
  <cp:lastPrinted>2024-05-30T07:40:40Z</cp:lastPrinted>
  <dcterms:created xsi:type="dcterms:W3CDTF">2024-05-27T12:22:19Z</dcterms:created>
  <dcterms:modified xsi:type="dcterms:W3CDTF">2024-06-19T05:31:4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AAE6503AAEDA49900CE22771E53CB8</vt:lpwstr>
  </property>
</Properties>
</file>